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sldIdLst>
    <p:sldId id="260" r:id="rId5"/>
    <p:sldId id="2147470418" r:id="rId6"/>
    <p:sldId id="257" r:id="rId7"/>
    <p:sldId id="2147470412" r:id="rId8"/>
    <p:sldId id="264" r:id="rId9"/>
    <p:sldId id="2147470419" r:id="rId10"/>
    <p:sldId id="267" r:id="rId11"/>
    <p:sldId id="2147470334" r:id="rId12"/>
    <p:sldId id="269" r:id="rId13"/>
    <p:sldId id="310" r:id="rId14"/>
    <p:sldId id="313" r:id="rId15"/>
    <p:sldId id="289" r:id="rId16"/>
    <p:sldId id="290" r:id="rId17"/>
    <p:sldId id="306" r:id="rId18"/>
    <p:sldId id="307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0BB320-8F85-886E-34C3-6ED9392F3EC2}" name="Hamilton, Melissa (STL-MOM)" initials="H(" userId="S::melissa.hamilton@momentumww.com::b2fd3ade-6ac1-4ae9-bbb3-64e384d998e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278C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689997-8854-4712-854F-A7BA9EBC448D}" v="11" dt="2024-09-26T10:19:44.6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8" d="100"/>
          <a:sy n="98" d="100"/>
        </p:scale>
        <p:origin x="918" y="2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ustos, Luis (WW-MOM)" userId="69e01f7a-7559-4f2c-9d0b-10b29d0aab91" providerId="ADAL" clId="{06689997-8854-4712-854F-A7BA9EBC448D}"/>
    <pc:docChg chg="undo custSel delSld modSld">
      <pc:chgData name="Bustos, Luis (WW-MOM)" userId="69e01f7a-7559-4f2c-9d0b-10b29d0aab91" providerId="ADAL" clId="{06689997-8854-4712-854F-A7BA9EBC448D}" dt="2024-09-26T09:55:57.532" v="73" actId="20577"/>
      <pc:docMkLst>
        <pc:docMk/>
      </pc:docMkLst>
      <pc:sldChg chg="del">
        <pc:chgData name="Bustos, Luis (WW-MOM)" userId="69e01f7a-7559-4f2c-9d0b-10b29d0aab91" providerId="ADAL" clId="{06689997-8854-4712-854F-A7BA9EBC448D}" dt="2024-09-26T09:55:20.727" v="64" actId="2696"/>
        <pc:sldMkLst>
          <pc:docMk/>
          <pc:sldMk cId="3519292059" sldId="259"/>
        </pc:sldMkLst>
      </pc:sldChg>
      <pc:sldChg chg="addSp delSp modSp mod">
        <pc:chgData name="Bustos, Luis (WW-MOM)" userId="69e01f7a-7559-4f2c-9d0b-10b29d0aab91" providerId="ADAL" clId="{06689997-8854-4712-854F-A7BA9EBC448D}" dt="2024-09-26T09:46:38.618" v="0" actId="478"/>
        <pc:sldMkLst>
          <pc:docMk/>
          <pc:sldMk cId="4005782735" sldId="260"/>
        </pc:sldMkLst>
        <pc:spChg chg="add mod">
          <ac:chgData name="Bustos, Luis (WW-MOM)" userId="69e01f7a-7559-4f2c-9d0b-10b29d0aab91" providerId="ADAL" clId="{06689997-8854-4712-854F-A7BA9EBC448D}" dt="2024-09-26T09:46:38.618" v="0" actId="478"/>
          <ac:spMkLst>
            <pc:docMk/>
            <pc:sldMk cId="4005782735" sldId="260"/>
            <ac:spMk id="3" creationId="{F86F3F32-1DA9-BBAD-9E36-3F09C0EF8E1D}"/>
          </ac:spMkLst>
        </pc:spChg>
        <pc:spChg chg="del">
          <ac:chgData name="Bustos, Luis (WW-MOM)" userId="69e01f7a-7559-4f2c-9d0b-10b29d0aab91" providerId="ADAL" clId="{06689997-8854-4712-854F-A7BA9EBC448D}" dt="2024-09-26T09:46:38.618" v="0" actId="478"/>
          <ac:spMkLst>
            <pc:docMk/>
            <pc:sldMk cId="4005782735" sldId="260"/>
            <ac:spMk id="6" creationId="{EE31DF6F-F7A3-E694-F738-AC107D3A628E}"/>
          </ac:spMkLst>
        </pc:spChg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638113225" sldId="263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2521465208" sldId="265"/>
        </pc:sldMkLst>
      </pc:sldChg>
      <pc:sldChg chg="del">
        <pc:chgData name="Bustos, Luis (WW-MOM)" userId="69e01f7a-7559-4f2c-9d0b-10b29d0aab91" providerId="ADAL" clId="{06689997-8854-4712-854F-A7BA9EBC448D}" dt="2024-09-26T09:47:33.923" v="4" actId="47"/>
        <pc:sldMkLst>
          <pc:docMk/>
          <pc:sldMk cId="2896041642" sldId="266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3532033375" sldId="271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1870863197" sldId="272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1125687950" sldId="274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1071020477" sldId="275"/>
        </pc:sldMkLst>
      </pc:sldChg>
      <pc:sldChg chg="del">
        <pc:chgData name="Bustos, Luis (WW-MOM)" userId="69e01f7a-7559-4f2c-9d0b-10b29d0aab91" providerId="ADAL" clId="{06689997-8854-4712-854F-A7BA9EBC448D}" dt="2024-09-26T09:48:22.601" v="7" actId="47"/>
        <pc:sldMkLst>
          <pc:docMk/>
          <pc:sldMk cId="2650693608" sldId="284"/>
        </pc:sldMkLst>
      </pc:sldChg>
      <pc:sldChg chg="modSp mod">
        <pc:chgData name="Bustos, Luis (WW-MOM)" userId="69e01f7a-7559-4f2c-9d0b-10b29d0aab91" providerId="ADAL" clId="{06689997-8854-4712-854F-A7BA9EBC448D}" dt="2024-09-26T09:55:57.532" v="73" actId="20577"/>
        <pc:sldMkLst>
          <pc:docMk/>
          <pc:sldMk cId="1070739527" sldId="289"/>
        </pc:sldMkLst>
        <pc:graphicFrameChg chg="mod modGraphic">
          <ac:chgData name="Bustos, Luis (WW-MOM)" userId="69e01f7a-7559-4f2c-9d0b-10b29d0aab91" providerId="ADAL" clId="{06689997-8854-4712-854F-A7BA9EBC448D}" dt="2024-09-26T09:55:57.532" v="73" actId="20577"/>
          <ac:graphicFrameMkLst>
            <pc:docMk/>
            <pc:sldMk cId="1070739527" sldId="289"/>
            <ac:graphicFrameMk id="6" creationId="{B4857DDE-8510-E866-65F9-57C5B8C15A36}"/>
          </ac:graphicFrameMkLst>
        </pc:graphicFrameChg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3134294971" sldId="294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2079737986" sldId="295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1121324730" sldId="299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1768818072" sldId="300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2810785202" sldId="301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352852645" sldId="302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1507572111" sldId="304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1621094084" sldId="305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1064767273" sldId="311"/>
        </pc:sldMkLst>
      </pc:sldChg>
      <pc:sldChg chg="del">
        <pc:chgData name="Bustos, Luis (WW-MOM)" userId="69e01f7a-7559-4f2c-9d0b-10b29d0aab91" providerId="ADAL" clId="{06689997-8854-4712-854F-A7BA9EBC448D}" dt="2024-09-26T09:47:08.002" v="1" actId="47"/>
        <pc:sldMkLst>
          <pc:docMk/>
          <pc:sldMk cId="2890060025" sldId="312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3194943459" sldId="314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89262870" sldId="315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2192591596" sldId="316"/>
        </pc:sldMkLst>
      </pc:sldChg>
      <pc:sldChg chg="del">
        <pc:chgData name="Bustos, Luis (WW-MOM)" userId="69e01f7a-7559-4f2c-9d0b-10b29d0aab91" providerId="ADAL" clId="{06689997-8854-4712-854F-A7BA9EBC448D}" dt="2024-09-26T09:47:08.002" v="1" actId="47"/>
        <pc:sldMkLst>
          <pc:docMk/>
          <pc:sldMk cId="1987447479" sldId="317"/>
        </pc:sldMkLst>
      </pc:sldChg>
      <pc:sldChg chg="del">
        <pc:chgData name="Bustos, Luis (WW-MOM)" userId="69e01f7a-7559-4f2c-9d0b-10b29d0aab91" providerId="ADAL" clId="{06689997-8854-4712-854F-A7BA9EBC448D}" dt="2024-09-26T09:47:08.002" v="1" actId="47"/>
        <pc:sldMkLst>
          <pc:docMk/>
          <pc:sldMk cId="2993220945" sldId="318"/>
        </pc:sldMkLst>
      </pc:sldChg>
      <pc:sldChg chg="del">
        <pc:chgData name="Bustos, Luis (WW-MOM)" userId="69e01f7a-7559-4f2c-9d0b-10b29d0aab91" providerId="ADAL" clId="{06689997-8854-4712-854F-A7BA9EBC448D}" dt="2024-09-26T09:47:08.002" v="1" actId="47"/>
        <pc:sldMkLst>
          <pc:docMk/>
          <pc:sldMk cId="37349266" sldId="319"/>
        </pc:sldMkLst>
      </pc:sldChg>
      <pc:sldChg chg="del">
        <pc:chgData name="Bustos, Luis (WW-MOM)" userId="69e01f7a-7559-4f2c-9d0b-10b29d0aab91" providerId="ADAL" clId="{06689997-8854-4712-854F-A7BA9EBC448D}" dt="2024-09-26T09:47:08.002" v="1" actId="47"/>
        <pc:sldMkLst>
          <pc:docMk/>
          <pc:sldMk cId="1345127793" sldId="320"/>
        </pc:sldMkLst>
      </pc:sldChg>
      <pc:sldChg chg="del">
        <pc:chgData name="Bustos, Luis (WW-MOM)" userId="69e01f7a-7559-4f2c-9d0b-10b29d0aab91" providerId="ADAL" clId="{06689997-8854-4712-854F-A7BA9EBC448D}" dt="2024-09-26T09:47:28.530" v="2" actId="47"/>
        <pc:sldMkLst>
          <pc:docMk/>
          <pc:sldMk cId="1932556701" sldId="2147470413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2304244658" sldId="2147470414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3673086956" sldId="2147470415"/>
        </pc:sldMkLst>
      </pc:sldChg>
      <pc:sldChg chg="del">
        <pc:chgData name="Bustos, Luis (WW-MOM)" userId="69e01f7a-7559-4f2c-9d0b-10b29d0aab91" providerId="ADAL" clId="{06689997-8854-4712-854F-A7BA9EBC448D}" dt="2024-09-26T09:55:33.611" v="65" actId="2696"/>
        <pc:sldMkLst>
          <pc:docMk/>
          <pc:sldMk cId="3903679516" sldId="2147470420"/>
        </pc:sldMkLst>
      </pc:sldChg>
      <pc:sldChg chg="del">
        <pc:chgData name="Bustos, Luis (WW-MOM)" userId="69e01f7a-7559-4f2c-9d0b-10b29d0aab91" providerId="ADAL" clId="{06689997-8854-4712-854F-A7BA9EBC448D}" dt="2024-09-26T09:48:16.524" v="6" actId="47"/>
        <pc:sldMkLst>
          <pc:docMk/>
          <pc:sldMk cId="2686668634" sldId="2147470421"/>
        </pc:sldMkLst>
      </pc:sldChg>
      <pc:sldChg chg="del">
        <pc:chgData name="Bustos, Luis (WW-MOM)" userId="69e01f7a-7559-4f2c-9d0b-10b29d0aab91" providerId="ADAL" clId="{06689997-8854-4712-854F-A7BA9EBC448D}" dt="2024-09-26T09:47:40.020" v="5" actId="47"/>
        <pc:sldMkLst>
          <pc:docMk/>
          <pc:sldMk cId="3072432708" sldId="2147470422"/>
        </pc:sldMkLst>
      </pc:sldChg>
      <pc:sldChg chg="del">
        <pc:chgData name="Bustos, Luis (WW-MOM)" userId="69e01f7a-7559-4f2c-9d0b-10b29d0aab91" providerId="ADAL" clId="{06689997-8854-4712-854F-A7BA9EBC448D}" dt="2024-09-26T09:47:32.183" v="3" actId="47"/>
        <pc:sldMkLst>
          <pc:docMk/>
          <pc:sldMk cId="2286743093" sldId="2147470423"/>
        </pc:sldMkLst>
      </pc:sldChg>
      <pc:sldChg chg="del">
        <pc:chgData name="Bustos, Luis (WW-MOM)" userId="69e01f7a-7559-4f2c-9d0b-10b29d0aab91" providerId="ADAL" clId="{06689997-8854-4712-854F-A7BA9EBC448D}" dt="2024-09-26T09:47:28.530" v="2" actId="47"/>
        <pc:sldMkLst>
          <pc:docMk/>
          <pc:sldMk cId="1081033570" sldId="2147470424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0A0E57-FB4B-4B67-A07F-E9B12642A449}" type="datetimeFigureOut">
              <a:t>9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FA7044-A491-4002-88E0-09C4D79F77A5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381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FA7044-A491-4002-88E0-09C4D79F77A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8331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5.wdp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3.wdp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4.wdp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01A83-F891-454C-BF65-BCAD19EED3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100" y="495300"/>
            <a:ext cx="10858500" cy="5867400"/>
          </a:xfrm>
        </p:spPr>
        <p:txBody>
          <a:bodyPr lIns="0" tIns="0" rIns="0" bIns="0" anchor="ctr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CHANGE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D2C376-36AE-444A-9944-7227E33ECC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70892"/>
            <a:ext cx="10858500" cy="472708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PRESENTATION DATE</a:t>
            </a:r>
          </a:p>
        </p:txBody>
      </p:sp>
      <p:sp>
        <p:nvSpPr>
          <p:cNvPr id="9" name="Google Shape;135;p29">
            <a:extLst>
              <a:ext uri="{FF2B5EF4-FFF2-40B4-BE49-F238E27FC236}">
                <a16:creationId xmlns:a16="http://schemas.microsoft.com/office/drawing/2014/main" id="{1AB9DE18-1767-C14D-BE3D-83A6E79FEBC2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0" name="Google Shape;136;p29">
            <a:extLst>
              <a:ext uri="{FF2B5EF4-FFF2-40B4-BE49-F238E27FC236}">
                <a16:creationId xmlns:a16="http://schemas.microsoft.com/office/drawing/2014/main" id="{4064A1A0-03C8-3547-849B-2E1665C62821}"/>
              </a:ext>
            </a:extLst>
          </p:cNvPr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565" y="235381"/>
            <a:ext cx="913550" cy="117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246;p40">
            <a:extLst>
              <a:ext uri="{FF2B5EF4-FFF2-40B4-BE49-F238E27FC236}">
                <a16:creationId xmlns:a16="http://schemas.microsoft.com/office/drawing/2014/main" id="{67EFE748-6B10-8B42-9BE5-22BF040B63A3}"/>
              </a:ext>
            </a:extLst>
          </p:cNvPr>
          <p:cNvPicPr preferRelativeResize="0"/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31;p29">
            <a:extLst>
              <a:ext uri="{FF2B5EF4-FFF2-40B4-BE49-F238E27FC236}">
                <a16:creationId xmlns:a16="http://schemas.microsoft.com/office/drawing/2014/main" id="{F8184673-9D26-974D-97C1-CB71391F4DA5}"/>
              </a:ext>
            </a:extLst>
          </p:cNvPr>
          <p:cNvPicPr preferRelativeResize="0"/>
          <p:nvPr userDrawn="1"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791701" y="2476502"/>
            <a:ext cx="4381498" cy="4190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8362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0" y="502785"/>
            <a:ext cx="11353800" cy="5864256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OVER RED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0" y="6342976"/>
            <a:ext cx="3666875" cy="499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0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oogle Shape;61;p15">
            <a:extLst>
              <a:ext uri="{FF2B5EF4-FFF2-40B4-BE49-F238E27FC236}">
                <a16:creationId xmlns:a16="http://schemas.microsoft.com/office/drawing/2014/main" id="{0E8B56F7-1C16-C344-82B3-8596DE309345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31;p29">
            <a:extLst>
              <a:ext uri="{FF2B5EF4-FFF2-40B4-BE49-F238E27FC236}">
                <a16:creationId xmlns:a16="http://schemas.microsoft.com/office/drawing/2014/main" id="{098D513B-14E7-0447-8E60-640A118ECA34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D473EB0-4327-674B-9398-FF1D2067639F}"/>
              </a:ext>
            </a:extLst>
          </p:cNvPr>
          <p:cNvSpPr/>
          <p:nvPr userDrawn="1"/>
        </p:nvSpPr>
        <p:spPr>
          <a:xfrm>
            <a:off x="-14918" y="7503812"/>
            <a:ext cx="12192000" cy="2031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atement slides make long presentations easier to follow, serving as visual breaks in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9667544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0" y="502785"/>
            <a:ext cx="11353800" cy="5859916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OVER BLACK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oogle Shape;246;p40">
            <a:extLst>
              <a:ext uri="{FF2B5EF4-FFF2-40B4-BE49-F238E27FC236}">
                <a16:creationId xmlns:a16="http://schemas.microsoft.com/office/drawing/2014/main" id="{86158CA5-6E24-4E4D-B6FA-C8A6FC13271E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31;p29">
            <a:extLst>
              <a:ext uri="{FF2B5EF4-FFF2-40B4-BE49-F238E27FC236}">
                <a16:creationId xmlns:a16="http://schemas.microsoft.com/office/drawing/2014/main" id="{D107D57D-EB0A-DE4D-83D8-845896B7B44F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A4AA850-210D-2D4A-AC92-B83CD8B22F72}"/>
              </a:ext>
            </a:extLst>
          </p:cNvPr>
          <p:cNvSpPr/>
          <p:nvPr userDrawn="1"/>
        </p:nvSpPr>
        <p:spPr>
          <a:xfrm>
            <a:off x="-14918" y="7503812"/>
            <a:ext cx="12192000" cy="2031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atement slides make long presentations easier to follow, serving as visual breaks in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1163800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0" y="502783"/>
            <a:ext cx="11353800" cy="5859917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OVER WHITE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0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oogle Shape;61;p15">
            <a:extLst>
              <a:ext uri="{FF2B5EF4-FFF2-40B4-BE49-F238E27FC236}">
                <a16:creationId xmlns:a16="http://schemas.microsoft.com/office/drawing/2014/main" id="{F1B974A8-CD3A-6348-9881-5C1533034BF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31;p29">
            <a:extLst>
              <a:ext uri="{FF2B5EF4-FFF2-40B4-BE49-F238E27FC236}">
                <a16:creationId xmlns:a16="http://schemas.microsoft.com/office/drawing/2014/main" id="{71B6B9FB-69CE-7C43-BE06-71DCF4228E11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995FC2A-04AC-144C-8CE2-2B5037B92DCB}"/>
              </a:ext>
            </a:extLst>
          </p:cNvPr>
          <p:cNvSpPr/>
          <p:nvPr userDrawn="1"/>
        </p:nvSpPr>
        <p:spPr>
          <a:xfrm>
            <a:off x="-14918" y="7503812"/>
            <a:ext cx="12192000" cy="2031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atement slides make long presentations easier to follow, serving as visual breaks in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5010847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135;p29">
            <a:extLst>
              <a:ext uri="{FF2B5EF4-FFF2-40B4-BE49-F238E27FC236}">
                <a16:creationId xmlns:a16="http://schemas.microsoft.com/office/drawing/2014/main" id="{1AB9DE18-1767-C14D-BE3D-83A6E79FEBC2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45564E2-CDD9-3248-AC02-2C4420E009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0" y="1992070"/>
            <a:ext cx="10477500" cy="2900363"/>
          </a:xfrm>
        </p:spPr>
        <p:txBody>
          <a:bodyPr lIns="0" tIns="0" rIns="0" bIns="0" anchor="ctr">
            <a:norm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12" name="Google Shape;136;p29">
            <a:extLst>
              <a:ext uri="{FF2B5EF4-FFF2-40B4-BE49-F238E27FC236}">
                <a16:creationId xmlns:a16="http://schemas.microsoft.com/office/drawing/2014/main" id="{2964BD76-1804-1D41-94CE-842EFA7DED48}"/>
              </a:ext>
            </a:extLst>
          </p:cNvPr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565" y="235381"/>
            <a:ext cx="913550" cy="117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246;p40">
            <a:extLst>
              <a:ext uri="{FF2B5EF4-FFF2-40B4-BE49-F238E27FC236}">
                <a16:creationId xmlns:a16="http://schemas.microsoft.com/office/drawing/2014/main" id="{92264890-E83C-0F47-946E-C95ABDD6E92C}"/>
              </a:ext>
            </a:extLst>
          </p:cNvPr>
          <p:cNvPicPr preferRelativeResize="0"/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131;p29">
            <a:extLst>
              <a:ext uri="{FF2B5EF4-FFF2-40B4-BE49-F238E27FC236}">
                <a16:creationId xmlns:a16="http://schemas.microsoft.com/office/drawing/2014/main" id="{1F3895E6-7FC7-914C-A9A3-403E623C1AB3}"/>
              </a:ext>
            </a:extLst>
          </p:cNvPr>
          <p:cNvPicPr preferRelativeResize="0"/>
          <p:nvPr userDrawn="1"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540085" y="3224886"/>
            <a:ext cx="2884729" cy="4190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2244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DC8A6AF-6806-BE43-AC76-40259F290B3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897443" cy="6857999"/>
          </a:xfrm>
          <a:custGeom>
            <a:avLst/>
            <a:gdLst>
              <a:gd name="connsiteX0" fmla="*/ 0 w 3897443"/>
              <a:gd name="connsiteY0" fmla="*/ 0 h 6857999"/>
              <a:gd name="connsiteX1" fmla="*/ 3897443 w 3897443"/>
              <a:gd name="connsiteY1" fmla="*/ 0 h 6857999"/>
              <a:gd name="connsiteX2" fmla="*/ 3897443 w 3897443"/>
              <a:gd name="connsiteY2" fmla="*/ 6857999 h 6857999"/>
              <a:gd name="connsiteX3" fmla="*/ 0 w 3897443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97443" h="6857999">
                <a:moveTo>
                  <a:pt x="0" y="0"/>
                </a:moveTo>
                <a:lnTo>
                  <a:pt x="3897443" y="0"/>
                </a:lnTo>
                <a:lnTo>
                  <a:pt x="3897443" y="6857999"/>
                </a:lnTo>
                <a:lnTo>
                  <a:pt x="0" y="6857999"/>
                </a:lnTo>
                <a:close/>
              </a:path>
            </a:pathLst>
          </a:custGeom>
          <a:pattFill prst="solidDmnd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4286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752558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791113"/>
            <a:ext cx="12192000" cy="66887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 userDrawn="1"/>
        </p:nvSpPr>
        <p:spPr>
          <a:xfrm>
            <a:off x="11465056" y="6385302"/>
            <a:ext cx="391937" cy="472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07" y="510386"/>
            <a:ext cx="11521987" cy="470770"/>
          </a:xfrm>
        </p:spPr>
        <p:txBody>
          <a:bodyPr lIns="0" tIns="0" rIns="0" bIns="0" anchor="t" anchorCtr="0">
            <a:spAutoFit/>
          </a:bodyPr>
          <a:lstStyle>
            <a:lvl1pPr>
              <a:defRPr sz="35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007" y="1616113"/>
            <a:ext cx="11521987" cy="4560851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007" y="6452189"/>
            <a:ext cx="2743200" cy="365125"/>
          </a:xfr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452189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5056" y="6452189"/>
            <a:ext cx="391937" cy="365125"/>
          </a:xfr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335007" y="319417"/>
            <a:ext cx="793582" cy="853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5" name="Rectangle 14"/>
          <p:cNvSpPr/>
          <p:nvPr userDrawn="1"/>
        </p:nvSpPr>
        <p:spPr>
          <a:xfrm>
            <a:off x="1128589" y="319417"/>
            <a:ext cx="216018" cy="85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6" name="Rectangle 15"/>
          <p:cNvSpPr/>
          <p:nvPr userDrawn="1"/>
        </p:nvSpPr>
        <p:spPr>
          <a:xfrm>
            <a:off x="1560626" y="319417"/>
            <a:ext cx="216018" cy="8530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/>
        </p:nvSpPr>
        <p:spPr>
          <a:xfrm>
            <a:off x="1344607" y="319417"/>
            <a:ext cx="216018" cy="853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5007" y="1001704"/>
            <a:ext cx="11521987" cy="317426"/>
          </a:xfrm>
        </p:spPr>
        <p:txBody>
          <a:bodyPr lIns="0" tIns="0" rIns="0" bIns="0">
            <a:no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037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>
  <p:cSld name="Cover slide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 txBox="1">
            <a:spLocks noGrp="1"/>
          </p:cNvSpPr>
          <p:nvPr>
            <p:ph type="ctrTitle"/>
          </p:nvPr>
        </p:nvSpPr>
        <p:spPr>
          <a:xfrm>
            <a:off x="609600" y="617431"/>
            <a:ext cx="83624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Verizon NHG DS"/>
              <a:buNone/>
              <a:defRPr sz="8000" b="1" i="0">
                <a:latin typeface="Verizon NHG DS"/>
                <a:ea typeface="Verizon NHG DS"/>
                <a:cs typeface="Verizon NHG DS"/>
                <a:sym typeface="Verizon NHG D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subTitle" idx="1"/>
          </p:nvPr>
        </p:nvSpPr>
        <p:spPr>
          <a:xfrm>
            <a:off x="609600" y="3055831"/>
            <a:ext cx="5486400" cy="18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Verizon NHG TX"/>
              <a:buNone/>
              <a:defRPr sz="2667" b="0" i="0">
                <a:solidFill>
                  <a:schemeClr val="dk1"/>
                </a:solidFill>
                <a:latin typeface="Verizon NHG TX"/>
                <a:ea typeface="Verizon NHG TX"/>
                <a:cs typeface="Verizon NHG TX"/>
                <a:sym typeface="Verizon NHG TX"/>
              </a:defRPr>
            </a:lvl1pPr>
            <a:lvl2pPr lvl="1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Verizon NHG TX"/>
              <a:buNone/>
              <a:defRPr sz="2667" b="1">
                <a:solidFill>
                  <a:schemeClr val="dk1"/>
                </a:solidFill>
              </a:defRPr>
            </a:lvl2pPr>
            <a:lvl3pPr lvl="2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3pPr>
            <a:lvl4pPr lvl="3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4pPr>
            <a:lvl5pPr lvl="4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5pPr>
            <a:lvl6pPr lvl="5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6pPr>
            <a:lvl7pPr lvl="6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7pPr>
            <a:lvl8pPr lvl="7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8pPr>
            <a:lvl9pPr lvl="8" algn="l" rtl="0">
              <a:lnSpc>
                <a:spcPct val="8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2000"/>
              <a:buNone/>
              <a:defRPr sz="2667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95563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4"/>
          <p:cNvSpPr txBox="1">
            <a:spLocks noGrp="1"/>
          </p:cNvSpPr>
          <p:nvPr>
            <p:ph type="title"/>
          </p:nvPr>
        </p:nvSpPr>
        <p:spPr>
          <a:xfrm>
            <a:off x="609600" y="792480"/>
            <a:ext cx="94488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erizon NHG DS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14"/>
          <p:cNvSpPr txBox="1">
            <a:spLocks noGrp="1"/>
          </p:cNvSpPr>
          <p:nvPr>
            <p:ph type="body" idx="1"/>
          </p:nvPr>
        </p:nvSpPr>
        <p:spPr>
          <a:xfrm>
            <a:off x="609600" y="1946107"/>
            <a:ext cx="9448800" cy="39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440256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Verizon NHG DS"/>
              <a:buAutoNum type="arabicPeriod"/>
              <a:defRPr sz="2133"/>
            </a:lvl1pPr>
            <a:lvl2pPr marL="1219170" lvl="1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2pPr>
            <a:lvl3pPr marL="1828754" lvl="2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3pPr>
            <a:lvl4pPr marL="2438339" lvl="3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4pPr>
            <a:lvl5pPr marL="3047924" lvl="4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5pPr>
            <a:lvl6pPr marL="3657509" lvl="5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4267093" lvl="6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4876678" lvl="7" indent="-457189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5486263" lvl="8" indent="-40639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200"/>
              <a:buChar char="■"/>
              <a:defRPr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ldNum" idx="12"/>
          </p:nvPr>
        </p:nvSpPr>
        <p:spPr>
          <a:xfrm>
            <a:off x="11277600" y="6266688"/>
            <a:ext cx="3048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0" lvl="0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1pPr>
            <a:lvl2pPr marL="0" lvl="1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2pPr>
            <a:lvl3pPr marL="0" lvl="2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3pPr>
            <a:lvl4pPr marL="0" lvl="3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4pPr>
            <a:lvl5pPr marL="0" lvl="4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5pPr>
            <a:lvl6pPr marL="0" lvl="5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6pPr>
            <a:lvl7pPr marL="0" lvl="6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7pPr>
            <a:lvl8pPr marL="0" lvl="7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8pPr>
            <a:lvl9pPr marL="0" lvl="8" indent="0" algn="r" rtl="0">
              <a:spcBef>
                <a:spcPts val="0"/>
              </a:spcBef>
              <a:buNone/>
              <a:defRPr sz="933" b="1">
                <a:solidFill>
                  <a:schemeClr val="dk1"/>
                </a:solidFill>
                <a:latin typeface="Verizon NHG DS"/>
                <a:ea typeface="Verizon NHG DS"/>
                <a:cs typeface="Verizon NHG DS"/>
                <a:sym typeface="Verizon NHG DS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7" name="Google Shape;57;p14"/>
          <p:cNvCxnSpPr/>
          <p:nvPr/>
        </p:nvCxnSpPr>
        <p:spPr>
          <a:xfrm>
            <a:off x="609600" y="609600"/>
            <a:ext cx="10972800" cy="0"/>
          </a:xfrm>
          <a:prstGeom prst="straightConnector1">
            <a:avLst/>
          </a:prstGeom>
          <a:noFill/>
          <a:ln w="476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603190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2" y="1943099"/>
            <a:ext cx="10928348" cy="1447801"/>
          </a:xfrm>
        </p:spPr>
        <p:txBody>
          <a:bodyPr lIns="0" tIns="0" rIns="0" bIns="0" anchor="t">
            <a:noAutofit/>
          </a:bodyPr>
          <a:lstStyle>
            <a:lvl1pPr>
              <a:defRPr sz="13800" b="1" i="0">
                <a:solidFill>
                  <a:schemeClr val="bg1"/>
                </a:solidFill>
                <a:latin typeface="Arial Black" panose="020B0604020202020204" pitchFamily="34" charset="0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3FD5B7-22A8-C34C-A750-33FFC8D2C34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19102" y="3476791"/>
            <a:ext cx="10928348" cy="150018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4800" b="1" i="0">
                <a:solidFill>
                  <a:schemeClr val="bg1"/>
                </a:solidFill>
                <a:latin typeface="Arial Black" panose="020B0604020202020204" pitchFamily="34" charset="0"/>
                <a:ea typeface="Arial Black" panose="020B0604020202020204" pitchFamily="34" charset="0"/>
                <a:cs typeface="Arial Black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2" y="6362700"/>
            <a:ext cx="3666873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9" name="Google Shape;61;p15">
            <a:extLst>
              <a:ext uri="{FF2B5EF4-FFF2-40B4-BE49-F238E27FC236}">
                <a16:creationId xmlns:a16="http://schemas.microsoft.com/office/drawing/2014/main" id="{C212A1C8-6E15-A045-977E-093E502A3A6D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Google Shape;135;p29">
            <a:extLst>
              <a:ext uri="{FF2B5EF4-FFF2-40B4-BE49-F238E27FC236}">
                <a16:creationId xmlns:a16="http://schemas.microsoft.com/office/drawing/2014/main" id="{CD79FA05-7672-6E46-B67A-81C2718A4187}"/>
              </a:ext>
            </a:extLst>
          </p:cNvPr>
          <p:cNvSpPr txBox="1"/>
          <p:nvPr userDrawn="1"/>
        </p:nvSpPr>
        <p:spPr>
          <a:xfrm>
            <a:off x="-1" y="7487930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Helvetica Neue" panose="02000503000000020004" pitchFamily="2" charset="0"/>
                <a:sym typeface="Helvetica Neue"/>
              </a:rPr>
              <a:t>When numbering sections, numerals should have at least two places. E.g., “01” rather than simply “1"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Helvetica Neue" panose="02000503000000020004" pitchFamily="2" charset="0"/>
              <a:sym typeface="Helvetica Neue"/>
            </a:endParaRPr>
          </a:p>
        </p:txBody>
      </p:sp>
      <p:pic>
        <p:nvPicPr>
          <p:cNvPr id="13" name="Google Shape;131;p29">
            <a:extLst>
              <a:ext uri="{FF2B5EF4-FFF2-40B4-BE49-F238E27FC236}">
                <a16:creationId xmlns:a16="http://schemas.microsoft.com/office/drawing/2014/main" id="{7FF81CC7-7497-9841-A13A-CF899AF3CFE0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2644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py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rmAutofit/>
          </a:bodyPr>
          <a:lstStyle>
            <a:lvl1pPr>
              <a:defRPr sz="28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44935-B3BD-8E40-9960-885DD9804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981199"/>
            <a:ext cx="11353800" cy="4381499"/>
          </a:xfrm>
        </p:spPr>
        <p:txBody>
          <a:bodyPr lIns="0" tIns="0" rIns="0" bIns="0"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oogle Shape;61;p15">
            <a:extLst>
              <a:ext uri="{FF2B5EF4-FFF2-40B4-BE49-F238E27FC236}">
                <a16:creationId xmlns:a16="http://schemas.microsoft.com/office/drawing/2014/main" id="{E19D577F-26F4-7E45-B7F8-60688F64752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1;p29">
            <a:extLst>
              <a:ext uri="{FF2B5EF4-FFF2-40B4-BE49-F238E27FC236}">
                <a16:creationId xmlns:a16="http://schemas.microsoft.com/office/drawing/2014/main" id="{8478335E-1040-D545-9443-FD550AA08922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41313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rmAutofit/>
          </a:bodyPr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oogle Shape;61;p15">
            <a:extLst>
              <a:ext uri="{FF2B5EF4-FFF2-40B4-BE49-F238E27FC236}">
                <a16:creationId xmlns:a16="http://schemas.microsoft.com/office/drawing/2014/main" id="{D9DB8F09-1A3E-D24C-97E2-DAB9988D1DF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31;p29">
            <a:extLst>
              <a:ext uri="{FF2B5EF4-FFF2-40B4-BE49-F238E27FC236}">
                <a16:creationId xmlns:a16="http://schemas.microsoft.com/office/drawing/2014/main" id="{E66248C5-863E-E244-AD3D-6883D3513871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6964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Google Shape;61;p15">
            <a:extLst>
              <a:ext uri="{FF2B5EF4-FFF2-40B4-BE49-F238E27FC236}">
                <a16:creationId xmlns:a16="http://schemas.microsoft.com/office/drawing/2014/main" id="{C50062A9-988A-9E47-B3E6-F36C9C911A2C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4242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38ACC7-CDE9-5A4D-8C9F-4C8A3AA21DB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34100" y="1"/>
            <a:ext cx="6057900" cy="6842616"/>
          </a:xfrm>
        </p:spPr>
        <p:txBody>
          <a:bodyPr/>
          <a:lstStyle>
            <a:lvl1pPr>
              <a:defRPr sz="3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28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2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20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20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502784"/>
            <a:ext cx="4876800" cy="1402216"/>
          </a:xfrm>
        </p:spPr>
        <p:txBody>
          <a:bodyPr lIns="0" tIns="0" rIns="0" bIns="0">
            <a:normAutofit/>
          </a:bodyPr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44935-B3BD-8E40-9960-885DD9804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981200"/>
            <a:ext cx="4876800" cy="4391210"/>
          </a:xfrm>
        </p:spPr>
        <p:txBody>
          <a:bodyPr lIns="0" tIns="0" rIns="0" bIns="0"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Google Shape;135;p29">
            <a:extLst>
              <a:ext uri="{FF2B5EF4-FFF2-40B4-BE49-F238E27FC236}">
                <a16:creationId xmlns:a16="http://schemas.microsoft.com/office/drawing/2014/main" id="{3CCA303A-0897-4E4D-8DAA-5259DB3F568A}"/>
              </a:ext>
            </a:extLst>
          </p:cNvPr>
          <p:cNvSpPr txBox="1"/>
          <p:nvPr userDrawn="1"/>
        </p:nvSpPr>
        <p:spPr>
          <a:xfrm>
            <a:off x="-1" y="74838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Please make sure that page numbers, graphic patterns, legal, and the logo bug are all visible over image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4" name="Google Shape;61;p15">
            <a:extLst>
              <a:ext uri="{FF2B5EF4-FFF2-40B4-BE49-F238E27FC236}">
                <a16:creationId xmlns:a16="http://schemas.microsoft.com/office/drawing/2014/main" id="{C310EF45-0C75-C94C-BAF7-4F13C37E434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31;p29">
            <a:extLst>
              <a:ext uri="{FF2B5EF4-FFF2-40B4-BE49-F238E27FC236}">
                <a16:creationId xmlns:a16="http://schemas.microsoft.com/office/drawing/2014/main" id="{10D5F239-274C-3A42-A30B-DA9E3B515CE7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669921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38ACC7-CDE9-5A4D-8C9F-4C8A3AA21DB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381500" y="1"/>
            <a:ext cx="7810500" cy="6842616"/>
          </a:xfrm>
        </p:spPr>
        <p:txBody>
          <a:bodyPr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1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1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502785"/>
            <a:ext cx="3390900" cy="1402215"/>
          </a:xfrm>
        </p:spPr>
        <p:txBody>
          <a:bodyPr lIns="0" tIns="0" rIns="0" bIns="0">
            <a:normAutofit/>
          </a:bodyPr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44935-B3BD-8E40-9960-885DD9804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981200"/>
            <a:ext cx="3390900" cy="4381500"/>
          </a:xfrm>
        </p:spPr>
        <p:txBody>
          <a:bodyPr lIns="0" tIns="0" rIns="0" bIns="0"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Google Shape;135;p29">
            <a:extLst>
              <a:ext uri="{FF2B5EF4-FFF2-40B4-BE49-F238E27FC236}">
                <a16:creationId xmlns:a16="http://schemas.microsoft.com/office/drawing/2014/main" id="{402686C8-D270-CC41-87D4-A220C3B4FAC2}"/>
              </a:ext>
            </a:extLst>
          </p:cNvPr>
          <p:cNvSpPr txBox="1"/>
          <p:nvPr userDrawn="1"/>
        </p:nvSpPr>
        <p:spPr>
          <a:xfrm>
            <a:off x="-1" y="74838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Please make sure that page numbers, graphic patterns, legal, and the logo bug are all visible over image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4" name="Google Shape;61;p15">
            <a:extLst>
              <a:ext uri="{FF2B5EF4-FFF2-40B4-BE49-F238E27FC236}">
                <a16:creationId xmlns:a16="http://schemas.microsoft.com/office/drawing/2014/main" id="{A02C1BA6-8F26-8044-9EE8-77EBD2DCB1BC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4056" y="6367040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31;p29">
            <a:extLst>
              <a:ext uri="{FF2B5EF4-FFF2-40B4-BE49-F238E27FC236}">
                <a16:creationId xmlns:a16="http://schemas.microsoft.com/office/drawing/2014/main" id="{0F02FDE9-AB3A-4040-B01E-2925DC7470E0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374721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38ACC7-CDE9-5A4D-8C9F-4C8A3AA21DB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-1" y="1"/>
            <a:ext cx="12192001" cy="6842616"/>
          </a:xfrm>
        </p:spPr>
        <p:txBody>
          <a:bodyPr>
            <a:normAutofit/>
          </a:bodyPr>
          <a:lstStyle>
            <a:lvl1pPr>
              <a:defRPr sz="16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1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100" b="0" i="0"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4A2869-8B17-B544-9CFF-DC5C2F7D3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502785"/>
            <a:ext cx="4876800" cy="1402215"/>
          </a:xfrm>
        </p:spPr>
        <p:txBody>
          <a:bodyPr lIns="0" tIns="0" rIns="0" bIns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44935-B3BD-8E40-9960-885DD9804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981200"/>
            <a:ext cx="4876800" cy="4381500"/>
          </a:xfrm>
        </p:spPr>
        <p:txBody>
          <a:bodyPr lIns="0" tIns="0" rIns="0" bIns="0"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defRPr sz="14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defRPr sz="12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defRPr sz="12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defRPr sz="1200" b="0" i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oogle Shape;135;p29">
            <a:extLst>
              <a:ext uri="{FF2B5EF4-FFF2-40B4-BE49-F238E27FC236}">
                <a16:creationId xmlns:a16="http://schemas.microsoft.com/office/drawing/2014/main" id="{04241297-F1AB-A540-980A-2B7280A3C3EA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B0E404F-A1D2-9545-8298-188175AE6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Google Shape;135;p29">
            <a:extLst>
              <a:ext uri="{FF2B5EF4-FFF2-40B4-BE49-F238E27FC236}">
                <a16:creationId xmlns:a16="http://schemas.microsoft.com/office/drawing/2014/main" id="{402686C8-D270-CC41-87D4-A220C3B4FAC2}"/>
              </a:ext>
            </a:extLst>
          </p:cNvPr>
          <p:cNvSpPr txBox="1"/>
          <p:nvPr userDrawn="1"/>
        </p:nvSpPr>
        <p:spPr>
          <a:xfrm>
            <a:off x="-1" y="74838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Please make sure that page numbers, graphic patterns, legal, and the logo bug are all visible over image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5" name="Google Shape;246;p40">
            <a:extLst>
              <a:ext uri="{FF2B5EF4-FFF2-40B4-BE49-F238E27FC236}">
                <a16:creationId xmlns:a16="http://schemas.microsoft.com/office/drawing/2014/main" id="{3ACC2C59-E23A-B541-BE94-2A89478F471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Google Shape;131;p29">
            <a:extLst>
              <a:ext uri="{FF2B5EF4-FFF2-40B4-BE49-F238E27FC236}">
                <a16:creationId xmlns:a16="http://schemas.microsoft.com/office/drawing/2014/main" id="{2012730B-248A-AF4E-8BC6-9F6D785B39C1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5785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4827E1D-223C-C347-B356-D32B75A405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0ED602-E314-A946-9574-9E4B113AC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0" y="502785"/>
            <a:ext cx="11353800" cy="5859916"/>
          </a:xfrm>
        </p:spPr>
        <p:txBody>
          <a:bodyPr lIns="0" tIns="0" rIns="0" bIns="0" anchor="ctr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OVER IMAGE</a:t>
            </a:r>
          </a:p>
        </p:txBody>
      </p:sp>
      <p:sp>
        <p:nvSpPr>
          <p:cNvPr id="8" name="Google Shape;135;p29">
            <a:extLst>
              <a:ext uri="{FF2B5EF4-FFF2-40B4-BE49-F238E27FC236}">
                <a16:creationId xmlns:a16="http://schemas.microsoft.com/office/drawing/2014/main" id="{B5322F6A-B753-B345-B06B-30A15290EC5C}"/>
              </a:ext>
            </a:extLst>
          </p:cNvPr>
          <p:cNvSpPr txBox="1"/>
          <p:nvPr userDrawn="1"/>
        </p:nvSpPr>
        <p:spPr>
          <a:xfrm>
            <a:off x="419100" y="6362700"/>
            <a:ext cx="3666875" cy="479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© MOMENTUM WORLDWIDE 2021 IN CONFIDENCE. </a:t>
            </a:r>
            <a:b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</a:br>
            <a:r>
              <a:rPr lang="en" sz="6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IS DOCUMENT MAY NOT BE DISTRIBUTED OR COPIED WITHOUT PRIOR CONSENT.</a:t>
            </a:r>
            <a:endParaRPr sz="600" b="0" i="0" u="none" strike="noStrike" cap="none">
              <a:solidFill>
                <a:srgbClr val="FFFFFF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EEEC9-5554-964E-A3DA-B9C1880B7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910" y="1376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Google Shape;135;p29">
            <a:extLst>
              <a:ext uri="{FF2B5EF4-FFF2-40B4-BE49-F238E27FC236}">
                <a16:creationId xmlns:a16="http://schemas.microsoft.com/office/drawing/2014/main" id="{13AF5523-C9E8-9D4F-A548-C407F8708D98}"/>
              </a:ext>
            </a:extLst>
          </p:cNvPr>
          <p:cNvSpPr txBox="1"/>
          <p:nvPr userDrawn="1"/>
        </p:nvSpPr>
        <p:spPr>
          <a:xfrm>
            <a:off x="-1" y="74838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Please make sure that page numbers, graphic patterns, legal, and the logo bug are all visible over image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14" name="Google Shape;246;p40">
            <a:extLst>
              <a:ext uri="{FF2B5EF4-FFF2-40B4-BE49-F238E27FC236}">
                <a16:creationId xmlns:a16="http://schemas.microsoft.com/office/drawing/2014/main" id="{26E1E9E5-73FE-B34D-B602-67BA32A6FD44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6460" y="6355008"/>
            <a:ext cx="365760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31;p29">
            <a:extLst>
              <a:ext uri="{FF2B5EF4-FFF2-40B4-BE49-F238E27FC236}">
                <a16:creationId xmlns:a16="http://schemas.microsoft.com/office/drawing/2014/main" id="{925DFFA0-2E05-C74C-9D8E-058A96D6194D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9102" y="0"/>
            <a:ext cx="2971798" cy="28941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C045360-E5CB-9146-8F50-F39697FA9247}"/>
              </a:ext>
            </a:extLst>
          </p:cNvPr>
          <p:cNvSpPr/>
          <p:nvPr userDrawn="1"/>
        </p:nvSpPr>
        <p:spPr>
          <a:xfrm>
            <a:off x="-14918" y="7697782"/>
            <a:ext cx="12192000" cy="2031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atement slides make long presentations easier to follow, serving as visual breaks in your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3210821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EE2858-06F6-E845-A5E6-D742407A33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95301"/>
            <a:ext cx="11353800" cy="91439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BCFE26-3B7A-DF48-9126-B2DF9FEF74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9100" y="1485901"/>
            <a:ext cx="11353800" cy="48767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50FCF4-9159-0C44-AC0F-17B414A7E4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3709" y="16974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defRPr>
            </a:lvl1pPr>
          </a:lstStyle>
          <a:p>
            <a:fld id="{28A7D70B-BA5B-454D-9E9C-85AA311AB7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Google Shape;135;p29">
            <a:extLst>
              <a:ext uri="{FF2B5EF4-FFF2-40B4-BE49-F238E27FC236}">
                <a16:creationId xmlns:a16="http://schemas.microsoft.com/office/drawing/2014/main" id="{9AE3BA6C-2E48-854D-A7F1-34357C9B19FE}"/>
              </a:ext>
            </a:extLst>
          </p:cNvPr>
          <p:cNvSpPr txBox="1"/>
          <p:nvPr userDrawn="1"/>
        </p:nvSpPr>
        <p:spPr>
          <a:xfrm>
            <a:off x="-1" y="7026614"/>
            <a:ext cx="12192001" cy="50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Under the ”View” menu, make sure that Guides are turned on in order to see the underlying grid structure.</a:t>
            </a: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Helvetica Neue"/>
              </a:rPr>
              <a:t>Use Arial throughout the deck. Headlines should be Arial Black and all caps. Body copy should be Arial Regular and sentence case, with Arial Black used for emphasis.</a:t>
            </a:r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8" name="Google Shape;489;p54">
            <a:extLst>
              <a:ext uri="{FF2B5EF4-FFF2-40B4-BE49-F238E27FC236}">
                <a16:creationId xmlns:a16="http://schemas.microsoft.com/office/drawing/2014/main" id="{1D03B768-0A8A-E347-860E-AE53B8DA689A}"/>
              </a:ext>
            </a:extLst>
          </p:cNvPr>
          <p:cNvSpPr txBox="1"/>
          <p:nvPr userDrawn="1"/>
        </p:nvSpPr>
        <p:spPr>
          <a:xfrm>
            <a:off x="-1953717" y="178274"/>
            <a:ext cx="1801676" cy="887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85C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 R236  G43  B57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C1  M96  Y82  K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EC2B39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29" name="Google Shape;500;p54">
            <a:extLst>
              <a:ext uri="{FF2B5EF4-FFF2-40B4-BE49-F238E27FC236}">
                <a16:creationId xmlns:a16="http://schemas.microsoft.com/office/drawing/2014/main" id="{D03DA737-EC28-374C-A53C-5DBC9B8984C9}"/>
              </a:ext>
            </a:extLst>
          </p:cNvPr>
          <p:cNvSpPr txBox="1"/>
          <p:nvPr userDrawn="1"/>
        </p:nvSpPr>
        <p:spPr>
          <a:xfrm>
            <a:off x="-1953717" y="2135166"/>
            <a:ext cx="1801676" cy="88792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00" b="1">
                <a:solidFill>
                  <a:srgbClr val="000000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900">
                <a:solidFill>
                  <a:srgbClr val="000000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White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rgbClr val="000000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900">
                <a:solidFill>
                  <a:srgbClr val="000000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 R255  G255  B255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rgbClr val="000000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900">
                <a:solidFill>
                  <a:srgbClr val="000000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C0  M0  Y0  K0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dk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900"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FFFFFF</a:t>
            </a:r>
            <a:endParaRPr sz="900">
              <a:solidFill>
                <a:srgbClr val="000000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0" name="Google Shape;135;p29">
            <a:extLst>
              <a:ext uri="{FF2B5EF4-FFF2-40B4-BE49-F238E27FC236}">
                <a16:creationId xmlns:a16="http://schemas.microsoft.com/office/drawing/2014/main" id="{288544CC-0962-D24D-BD84-A4C75498EFCA}"/>
              </a:ext>
            </a:extLst>
          </p:cNvPr>
          <p:cNvSpPr txBox="1"/>
          <p:nvPr userDrawn="1"/>
        </p:nvSpPr>
        <p:spPr>
          <a:xfrm>
            <a:off x="-1797961" y="-53373"/>
            <a:ext cx="1645920" cy="2316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050" b="1" u="none" strike="noStrike" cap="none">
                <a:solidFill>
                  <a:schemeClr val="tx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/>
              </a:rPr>
              <a:t>PRIMARY COLORS</a:t>
            </a:r>
            <a:endParaRPr sz="1050" b="1" u="none" strike="noStrike" cap="none">
              <a:solidFill>
                <a:schemeClr val="tx1"/>
              </a:solidFill>
              <a:latin typeface="Arial Black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Helvetica Neue"/>
            </a:endParaRPr>
          </a:p>
        </p:txBody>
      </p:sp>
      <p:sp>
        <p:nvSpPr>
          <p:cNvPr id="31" name="Google Shape;493;p54">
            <a:extLst>
              <a:ext uri="{FF2B5EF4-FFF2-40B4-BE49-F238E27FC236}">
                <a16:creationId xmlns:a16="http://schemas.microsoft.com/office/drawing/2014/main" id="{62DF0BBB-7C65-5648-9CA5-56450B5EF2D6}"/>
              </a:ext>
            </a:extLst>
          </p:cNvPr>
          <p:cNvSpPr txBox="1"/>
          <p:nvPr userDrawn="1"/>
        </p:nvSpPr>
        <p:spPr>
          <a:xfrm>
            <a:off x="-1953717" y="1156720"/>
            <a:ext cx="1801676" cy="8879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Black 6 C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 R0  G0  B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C75  M68  Y67  K9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</a:pPr>
            <a:r>
              <a:rPr lang="en" sz="900" b="1">
                <a:solidFill>
                  <a:schemeClr val="lt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9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 000000</a:t>
            </a:r>
            <a:endParaRPr sz="900">
              <a:solidFill>
                <a:schemeClr val="lt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2" name="Google Shape;135;p29">
            <a:extLst>
              <a:ext uri="{FF2B5EF4-FFF2-40B4-BE49-F238E27FC236}">
                <a16:creationId xmlns:a16="http://schemas.microsoft.com/office/drawing/2014/main" id="{47795A3A-A7CC-CF4C-AA0D-71CEC112C0AA}"/>
              </a:ext>
            </a:extLst>
          </p:cNvPr>
          <p:cNvSpPr txBox="1"/>
          <p:nvPr userDrawn="1"/>
        </p:nvSpPr>
        <p:spPr>
          <a:xfrm>
            <a:off x="12326377" y="-53373"/>
            <a:ext cx="1645920" cy="2316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1050" b="1" u="none" strike="noStrike" cap="none">
                <a:solidFill>
                  <a:schemeClr val="tx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/>
              </a:rPr>
              <a:t>SECONDARY COLORS</a:t>
            </a:r>
            <a:endParaRPr sz="1050" b="1" u="none" strike="noStrike" cap="none">
              <a:solidFill>
                <a:schemeClr val="tx1"/>
              </a:solidFill>
              <a:latin typeface="Arial Black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Helvetica Neue"/>
            </a:endParaRPr>
          </a:p>
        </p:txBody>
      </p:sp>
      <p:sp>
        <p:nvSpPr>
          <p:cNvPr id="33" name="Google Shape;521;p56">
            <a:extLst>
              <a:ext uri="{FF2B5EF4-FFF2-40B4-BE49-F238E27FC236}">
                <a16:creationId xmlns:a16="http://schemas.microsoft.com/office/drawing/2014/main" id="{60F673A1-08EC-6748-AA6B-ECD71172AF1D}"/>
              </a:ext>
            </a:extLst>
          </p:cNvPr>
          <p:cNvSpPr txBox="1"/>
          <p:nvPr userDrawn="1"/>
        </p:nvSpPr>
        <p:spPr>
          <a:xfrm>
            <a:off x="12314525" y="179213"/>
            <a:ext cx="1515709" cy="565135"/>
          </a:xfrm>
          <a:prstGeom prst="rect">
            <a:avLst/>
          </a:prstGeom>
          <a:solidFill>
            <a:srgbClr val="495683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673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73 G86 B131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81 M70 Y25 K8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495683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4" name="Google Shape;522;p56">
            <a:extLst>
              <a:ext uri="{FF2B5EF4-FFF2-40B4-BE49-F238E27FC236}">
                <a16:creationId xmlns:a16="http://schemas.microsoft.com/office/drawing/2014/main" id="{A7D37594-C833-4141-B76F-B67B2C1ACC0E}"/>
              </a:ext>
            </a:extLst>
          </p:cNvPr>
          <p:cNvSpPr txBox="1"/>
          <p:nvPr userDrawn="1"/>
        </p:nvSpPr>
        <p:spPr>
          <a:xfrm>
            <a:off x="12314525" y="2026058"/>
            <a:ext cx="1512202" cy="565135"/>
          </a:xfrm>
          <a:prstGeom prst="rect">
            <a:avLst/>
          </a:prstGeom>
          <a:solidFill>
            <a:srgbClr val="B0CFD9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551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176 G207 B217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30 M7 Y11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B0CFD9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5" name="Google Shape;523;p56">
            <a:extLst>
              <a:ext uri="{FF2B5EF4-FFF2-40B4-BE49-F238E27FC236}">
                <a16:creationId xmlns:a16="http://schemas.microsoft.com/office/drawing/2014/main" id="{96A8C196-320E-514E-BC69-BBEBC7F26CDA}"/>
              </a:ext>
            </a:extLst>
          </p:cNvPr>
          <p:cNvSpPr txBox="1"/>
          <p:nvPr userDrawn="1"/>
        </p:nvSpPr>
        <p:spPr>
          <a:xfrm>
            <a:off x="12314525" y="794828"/>
            <a:ext cx="1512202" cy="565135"/>
          </a:xfrm>
          <a:prstGeom prst="rect">
            <a:avLst/>
          </a:prstGeom>
          <a:solidFill>
            <a:srgbClr val="65618A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5275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101 G97 B138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68 M65 Y24 K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65618A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6" name="Google Shape;524;p56">
            <a:extLst>
              <a:ext uri="{FF2B5EF4-FFF2-40B4-BE49-F238E27FC236}">
                <a16:creationId xmlns:a16="http://schemas.microsoft.com/office/drawing/2014/main" id="{3BB702B5-DE96-534C-A6A6-31F8692DBF83}"/>
              </a:ext>
            </a:extLst>
          </p:cNvPr>
          <p:cNvSpPr txBox="1"/>
          <p:nvPr userDrawn="1"/>
        </p:nvSpPr>
        <p:spPr>
          <a:xfrm>
            <a:off x="12314525" y="1410443"/>
            <a:ext cx="1515709" cy="565135"/>
          </a:xfrm>
          <a:prstGeom prst="rect">
            <a:avLst/>
          </a:prstGeom>
          <a:solidFill>
            <a:srgbClr val="3A718C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698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58 G113 B14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81 M48 Y32 K7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3A718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7" name="Google Shape;532;p56">
            <a:extLst>
              <a:ext uri="{FF2B5EF4-FFF2-40B4-BE49-F238E27FC236}">
                <a16:creationId xmlns:a16="http://schemas.microsoft.com/office/drawing/2014/main" id="{E94D427C-93A4-3A4A-B33C-2BAFE9FAEF63}"/>
              </a:ext>
            </a:extLst>
          </p:cNvPr>
          <p:cNvSpPr txBox="1"/>
          <p:nvPr userDrawn="1"/>
        </p:nvSpPr>
        <p:spPr>
          <a:xfrm>
            <a:off x="12314525" y="2641673"/>
            <a:ext cx="1515709" cy="565135"/>
          </a:xfrm>
          <a:prstGeom prst="rect">
            <a:avLst/>
          </a:prstGeom>
          <a:solidFill>
            <a:srgbClr val="416243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734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65 G98 B67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78 M38 Y83 K3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416243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8" name="Google Shape;533;p56">
            <a:extLst>
              <a:ext uri="{FF2B5EF4-FFF2-40B4-BE49-F238E27FC236}">
                <a16:creationId xmlns:a16="http://schemas.microsoft.com/office/drawing/2014/main" id="{93D652CF-BC90-F041-BCAA-162ED27CFDC3}"/>
              </a:ext>
            </a:extLst>
          </p:cNvPr>
          <p:cNvSpPr txBox="1"/>
          <p:nvPr userDrawn="1"/>
        </p:nvSpPr>
        <p:spPr>
          <a:xfrm>
            <a:off x="12314525" y="3257288"/>
            <a:ext cx="1512202" cy="565135"/>
          </a:xfrm>
          <a:prstGeom prst="rect">
            <a:avLst/>
          </a:prstGeom>
          <a:solidFill>
            <a:srgbClr val="57A773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7723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87 G167 B11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69 M13 Y71 K1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57A773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39" name="Google Shape;534;p56">
            <a:extLst>
              <a:ext uri="{FF2B5EF4-FFF2-40B4-BE49-F238E27FC236}">
                <a16:creationId xmlns:a16="http://schemas.microsoft.com/office/drawing/2014/main" id="{6B0762AD-BE85-0F43-AA04-2787992E8D66}"/>
              </a:ext>
            </a:extLst>
          </p:cNvPr>
          <p:cNvSpPr txBox="1"/>
          <p:nvPr userDrawn="1"/>
        </p:nvSpPr>
        <p:spPr>
          <a:xfrm>
            <a:off x="12314525" y="5098963"/>
            <a:ext cx="1515709" cy="565135"/>
          </a:xfrm>
          <a:prstGeom prst="rect">
            <a:avLst/>
          </a:prstGeom>
          <a:solidFill>
            <a:srgbClr val="F26419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66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242 G100 B2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0 M79 Y100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</a:t>
            </a:r>
            <a:r>
              <a:rPr lang="en" sz="800">
                <a:solidFill>
                  <a:schemeClr val="lt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F26419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0" name="Google Shape;535;p56">
            <a:extLst>
              <a:ext uri="{FF2B5EF4-FFF2-40B4-BE49-F238E27FC236}">
                <a16:creationId xmlns:a16="http://schemas.microsoft.com/office/drawing/2014/main" id="{BECDF4F2-1E37-9A4B-9D6E-8AF5DFC0AC99}"/>
              </a:ext>
            </a:extLst>
          </p:cNvPr>
          <p:cNvSpPr txBox="1"/>
          <p:nvPr userDrawn="1"/>
        </p:nvSpPr>
        <p:spPr>
          <a:xfrm>
            <a:off x="12314525" y="5714578"/>
            <a:ext cx="1512202" cy="565135"/>
          </a:xfrm>
          <a:prstGeom prst="rect">
            <a:avLst/>
          </a:prstGeom>
          <a:solidFill>
            <a:srgbClr val="F6AE2D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30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246 G174 B45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0 M37 Y100 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F6AE2D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1" name="Google Shape;536;p56">
            <a:extLst>
              <a:ext uri="{FF2B5EF4-FFF2-40B4-BE49-F238E27FC236}">
                <a16:creationId xmlns:a16="http://schemas.microsoft.com/office/drawing/2014/main" id="{51E42B78-E127-BE40-AF38-6629D88FA785}"/>
              </a:ext>
            </a:extLst>
          </p:cNvPr>
          <p:cNvSpPr txBox="1"/>
          <p:nvPr userDrawn="1"/>
        </p:nvSpPr>
        <p:spPr>
          <a:xfrm>
            <a:off x="12314525" y="3872903"/>
            <a:ext cx="1515709" cy="559965"/>
          </a:xfrm>
          <a:prstGeom prst="rect">
            <a:avLst/>
          </a:prstGeom>
          <a:solidFill>
            <a:srgbClr val="FFD20A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915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 255 G218 B39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1 M11 Y93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FFD20A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2" name="Google Shape;537;p56">
            <a:extLst>
              <a:ext uri="{FF2B5EF4-FFF2-40B4-BE49-F238E27FC236}">
                <a16:creationId xmlns:a16="http://schemas.microsoft.com/office/drawing/2014/main" id="{E1511443-ED9A-9A43-8B6F-B1B8D14F613A}"/>
              </a:ext>
            </a:extLst>
          </p:cNvPr>
          <p:cNvSpPr txBox="1"/>
          <p:nvPr userDrawn="1"/>
        </p:nvSpPr>
        <p:spPr>
          <a:xfrm>
            <a:off x="12314525" y="4483348"/>
            <a:ext cx="1512202" cy="565135"/>
          </a:xfrm>
          <a:prstGeom prst="rect">
            <a:avLst/>
          </a:prstGeom>
          <a:solidFill>
            <a:srgbClr val="FFE156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115 C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255 G255 B86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0 M8 Y92 K0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chemeClr val="bg1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FFE156</a:t>
            </a:r>
            <a:endParaRPr sz="800">
              <a:solidFill>
                <a:schemeClr val="bg1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3" name="Google Shape;536;p56">
            <a:extLst>
              <a:ext uri="{FF2B5EF4-FFF2-40B4-BE49-F238E27FC236}">
                <a16:creationId xmlns:a16="http://schemas.microsoft.com/office/drawing/2014/main" id="{D2412C9F-C476-9442-9979-68C8B1FBC3B6}"/>
              </a:ext>
            </a:extLst>
          </p:cNvPr>
          <p:cNvSpPr txBox="1"/>
          <p:nvPr userDrawn="1"/>
        </p:nvSpPr>
        <p:spPr>
          <a:xfrm>
            <a:off x="12314525" y="6940637"/>
            <a:ext cx="1515709" cy="559965"/>
          </a:xfrm>
          <a:prstGeom prst="rect">
            <a:avLst/>
          </a:prstGeom>
          <a:solidFill>
            <a:srgbClr val="D5D9DC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427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 213 G217 B22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15 M10 Y9 K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D5D9D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  <p:sp>
        <p:nvSpPr>
          <p:cNvPr id="44" name="Google Shape;536;p56">
            <a:extLst>
              <a:ext uri="{FF2B5EF4-FFF2-40B4-BE49-F238E27FC236}">
                <a16:creationId xmlns:a16="http://schemas.microsoft.com/office/drawing/2014/main" id="{2663D03C-9B70-7343-9407-71BDA966ADD9}"/>
              </a:ext>
            </a:extLst>
          </p:cNvPr>
          <p:cNvSpPr txBox="1"/>
          <p:nvPr userDrawn="1"/>
        </p:nvSpPr>
        <p:spPr>
          <a:xfrm>
            <a:off x="12314525" y="6330193"/>
            <a:ext cx="1515709" cy="559965"/>
          </a:xfrm>
          <a:prstGeom prst="rect">
            <a:avLst/>
          </a:prstGeom>
          <a:solidFill>
            <a:srgbClr val="7A868D"/>
          </a:solidFill>
          <a:ln>
            <a:noFill/>
          </a:ln>
        </p:spPr>
        <p:txBody>
          <a:bodyPr spcFirstLastPara="1" wrap="square" lIns="121900" tIns="0" rIns="0" bIns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Pantone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"/>
              </a:rPr>
              <a:t> 430 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RGB 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  R125 G134 B140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CMYK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C54 M41 Y38 K4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  <a:p>
            <a:pPr>
              <a:lnSpc>
                <a:spcPct val="90000"/>
              </a:lnSpc>
              <a:buClr>
                <a:schemeClr val="dk1"/>
              </a:buClr>
            </a:pPr>
            <a:r>
              <a:rPr lang="en" sz="800" b="1">
                <a:solidFill>
                  <a:srgbClr val="FFFFFF"/>
                </a:solidFill>
                <a:latin typeface="Arial Black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WEB</a:t>
            </a:r>
            <a:r>
              <a:rPr lang="en" sz="800">
                <a:solidFill>
                  <a:srgbClr val="FFFFFF"/>
                </a:solidFill>
                <a:latin typeface="Arial" panose="020B0604020202020204" pitchFamily="34" charset="0"/>
                <a:ea typeface="Helvetica Neue" panose="02000503000000020004" pitchFamily="2" charset="0"/>
                <a:cs typeface="Helvetica Neue" panose="02000503000000020004" pitchFamily="2" charset="0"/>
                <a:sym typeface="Poppins Light"/>
              </a:rPr>
              <a:t> 7D868C</a:t>
            </a:r>
            <a:endParaRPr sz="800">
              <a:solidFill>
                <a:srgbClr val="FFFFFF"/>
              </a:solidFill>
              <a:latin typeface="Arial" panose="020B0604020202020204" pitchFamily="34" charset="0"/>
              <a:ea typeface="Helvetica Neue" panose="02000503000000020004" pitchFamily="2" charset="0"/>
              <a:cs typeface="Helvetica Neue" panose="02000503000000020004" pitchFamily="2" charset="0"/>
              <a:sym typeface="Poppi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211252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87" r:id="rId3"/>
    <p:sldLayoutId id="2147483692" r:id="rId4"/>
    <p:sldLayoutId id="2147483694" r:id="rId5"/>
    <p:sldLayoutId id="2147483690" r:id="rId6"/>
    <p:sldLayoutId id="2147483691" r:id="rId7"/>
    <p:sldLayoutId id="2147483697" r:id="rId8"/>
    <p:sldLayoutId id="2147483689" r:id="rId9"/>
    <p:sldLayoutId id="2147483695" r:id="rId10"/>
    <p:sldLayoutId id="2147483669" r:id="rId11"/>
    <p:sldLayoutId id="2147483696" r:id="rId12"/>
    <p:sldLayoutId id="2147483693" r:id="rId13"/>
    <p:sldLayoutId id="2147483672" r:id="rId14"/>
    <p:sldLayoutId id="2147483673" r:id="rId15"/>
    <p:sldLayoutId id="2147483674" r:id="rId16"/>
    <p:sldLayoutId id="2147483675" r:id="rId17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spcAft>
          <a:spcPts val="1600"/>
        </a:spcAft>
        <a:buNone/>
        <a:defRPr sz="2800" b="1" i="0" kern="1200">
          <a:solidFill>
            <a:schemeClr val="tx1"/>
          </a:solidFill>
          <a:latin typeface="Arial Black" panose="020B0604020202020204" pitchFamily="34" charset="0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Helvetica Neue Light" panose="02000403000000020004" pitchFamily="2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04" userDrawn="1">
          <p15:clr>
            <a:srgbClr val="F26B43"/>
          </p15:clr>
        </p15:guide>
        <p15:guide id="2" pos="264" userDrawn="1">
          <p15:clr>
            <a:srgbClr val="9FCC3B"/>
          </p15:clr>
        </p15:guide>
        <p15:guide id="3" pos="3384" userDrawn="1">
          <p15:clr>
            <a:srgbClr val="547EBF"/>
          </p15:clr>
        </p15:guide>
        <p15:guide id="4" pos="7416" userDrawn="1">
          <p15:clr>
            <a:srgbClr val="9FCC3B"/>
          </p15:clr>
        </p15:guide>
        <p15:guide id="5" pos="3072" userDrawn="1">
          <p15:clr>
            <a:srgbClr val="F26B43"/>
          </p15:clr>
        </p15:guide>
        <p15:guide id="6" pos="2712" userDrawn="1">
          <p15:clr>
            <a:srgbClr val="547EBF"/>
          </p15:clr>
        </p15:guide>
        <p15:guide id="7" pos="2448" userDrawn="1">
          <p15:clr>
            <a:srgbClr val="F26B43"/>
          </p15:clr>
        </p15:guide>
        <p15:guide id="8" pos="3024" userDrawn="1">
          <p15:clr>
            <a:srgbClr val="F26B43"/>
          </p15:clr>
        </p15:guide>
        <p15:guide id="9" pos="3336" userDrawn="1">
          <p15:clr>
            <a:srgbClr val="547EBF"/>
          </p15:clr>
        </p15:guide>
        <p15:guide id="10" pos="2400" userDrawn="1">
          <p15:clr>
            <a:srgbClr val="F26B43"/>
          </p15:clr>
        </p15:guide>
        <p15:guide id="11" pos="2760" userDrawn="1">
          <p15:clr>
            <a:srgbClr val="547EBF"/>
          </p15:clr>
        </p15:guide>
        <p15:guide id="12" pos="1824" userDrawn="1">
          <p15:clr>
            <a:srgbClr val="F26B43"/>
          </p15:clr>
        </p15:guide>
        <p15:guide id="13" pos="1464" userDrawn="1">
          <p15:clr>
            <a:srgbClr val="547EBF"/>
          </p15:clr>
        </p15:guide>
        <p15:guide id="14" pos="1200" userDrawn="1">
          <p15:clr>
            <a:srgbClr val="F26B43"/>
          </p15:clr>
        </p15:guide>
        <p15:guide id="15" pos="528" userDrawn="1">
          <p15:clr>
            <a:srgbClr val="F26B43"/>
          </p15:clr>
        </p15:guide>
        <p15:guide id="16" pos="840" userDrawn="1">
          <p15:clr>
            <a:srgbClr val="547EBF"/>
          </p15:clr>
        </p15:guide>
        <p15:guide id="17" pos="576" userDrawn="1">
          <p15:clr>
            <a:srgbClr val="F26B43"/>
          </p15:clr>
        </p15:guide>
        <p15:guide id="19" pos="888" userDrawn="1">
          <p15:clr>
            <a:srgbClr val="547EBF"/>
          </p15:clr>
        </p15:guide>
        <p15:guide id="20" pos="1152" userDrawn="1">
          <p15:clr>
            <a:srgbClr val="F26B43"/>
          </p15:clr>
        </p15:guide>
        <p15:guide id="21" pos="1512" userDrawn="1">
          <p15:clr>
            <a:srgbClr val="547EBF"/>
          </p15:clr>
        </p15:guide>
        <p15:guide id="22" pos="1776" userDrawn="1">
          <p15:clr>
            <a:srgbClr val="F26B43"/>
          </p15:clr>
        </p15:guide>
        <p15:guide id="23" pos="2088" userDrawn="1">
          <p15:clr>
            <a:srgbClr val="547EBF"/>
          </p15:clr>
        </p15:guide>
        <p15:guide id="24" pos="2136" userDrawn="1">
          <p15:clr>
            <a:srgbClr val="547EBF"/>
          </p15:clr>
        </p15:guide>
        <p15:guide id="25" orient="horz" pos="3072" userDrawn="1">
          <p15:clr>
            <a:srgbClr val="F26B43"/>
          </p15:clr>
        </p15:guide>
        <p15:guide id="26" orient="horz" pos="2448" userDrawn="1">
          <p15:clr>
            <a:srgbClr val="F26B43"/>
          </p15:clr>
        </p15:guide>
        <p15:guide id="27" orient="horz" pos="312" userDrawn="1">
          <p15:clr>
            <a:srgbClr val="9FCC3B"/>
          </p15:clr>
        </p15:guide>
        <p15:guide id="28" orient="horz" pos="2496" userDrawn="1">
          <p15:clr>
            <a:srgbClr val="F26B43"/>
          </p15:clr>
        </p15:guide>
        <p15:guide id="29" orient="horz" pos="3120" userDrawn="1">
          <p15:clr>
            <a:srgbClr val="F26B43"/>
          </p15:clr>
        </p15:guide>
        <p15:guide id="30" orient="horz" pos="4008" userDrawn="1">
          <p15:clr>
            <a:srgbClr val="9FCC3B"/>
          </p15:clr>
        </p15:guide>
        <p15:guide id="31" orient="horz" pos="2760" userDrawn="1">
          <p15:clr>
            <a:srgbClr val="547EBF"/>
          </p15:clr>
        </p15:guide>
        <p15:guide id="32" orient="horz" pos="2808" userDrawn="1">
          <p15:clr>
            <a:srgbClr val="547EBF"/>
          </p15:clr>
        </p15:guide>
        <p15:guide id="33" pos="7152" userDrawn="1">
          <p15:clr>
            <a:srgbClr val="F26B43"/>
          </p15:clr>
        </p15:guide>
        <p15:guide id="34" pos="5592" userDrawn="1">
          <p15:clr>
            <a:srgbClr val="547EBF"/>
          </p15:clr>
        </p15:guide>
        <p15:guide id="35" pos="5544" userDrawn="1">
          <p15:clr>
            <a:srgbClr val="547EBF"/>
          </p15:clr>
        </p15:guide>
        <p15:guide id="36" pos="5904" userDrawn="1">
          <p15:clr>
            <a:srgbClr val="F26B43"/>
          </p15:clr>
        </p15:guide>
        <p15:guide id="37" pos="5856" userDrawn="1">
          <p15:clr>
            <a:srgbClr val="F26B43"/>
          </p15:clr>
        </p15:guide>
        <p15:guide id="38" pos="6216" userDrawn="1">
          <p15:clr>
            <a:srgbClr val="547EBF"/>
          </p15:clr>
        </p15:guide>
        <p15:guide id="39" pos="6168" userDrawn="1">
          <p15:clr>
            <a:srgbClr val="547EBF"/>
          </p15:clr>
        </p15:guide>
        <p15:guide id="40" pos="6792" userDrawn="1">
          <p15:clr>
            <a:srgbClr val="547EBF"/>
          </p15:clr>
        </p15:guide>
        <p15:guide id="41" pos="6840" userDrawn="1">
          <p15:clr>
            <a:srgbClr val="547EBF"/>
          </p15:clr>
        </p15:guide>
        <p15:guide id="42" pos="6480" userDrawn="1">
          <p15:clr>
            <a:srgbClr val="F26B43"/>
          </p15:clr>
        </p15:guide>
        <p15:guide id="43" pos="6528" userDrawn="1">
          <p15:clr>
            <a:srgbClr val="F26B43"/>
          </p15:clr>
        </p15:guide>
        <p15:guide id="44" pos="4344" userDrawn="1">
          <p15:clr>
            <a:srgbClr val="547EBF"/>
          </p15:clr>
        </p15:guide>
        <p15:guide id="45" pos="4608" userDrawn="1">
          <p15:clr>
            <a:srgbClr val="F26B43"/>
          </p15:clr>
        </p15:guide>
        <p15:guide id="46" pos="4656" userDrawn="1">
          <p15:clr>
            <a:srgbClr val="F26B43"/>
          </p15:clr>
        </p15:guide>
        <p15:guide id="47" pos="4920" userDrawn="1">
          <p15:clr>
            <a:srgbClr val="547EBF"/>
          </p15:clr>
        </p15:guide>
        <p15:guide id="48" pos="4968" userDrawn="1">
          <p15:clr>
            <a:srgbClr val="547EBF"/>
          </p15:clr>
        </p15:guide>
        <p15:guide id="49" pos="5280" userDrawn="1">
          <p15:clr>
            <a:srgbClr val="F26B43"/>
          </p15:clr>
        </p15:guide>
        <p15:guide id="50" pos="5232" userDrawn="1">
          <p15:clr>
            <a:srgbClr val="F26B43"/>
          </p15:clr>
        </p15:guide>
        <p15:guide id="51" pos="3648" userDrawn="1">
          <p15:clr>
            <a:srgbClr val="F26B43"/>
          </p15:clr>
        </p15:guide>
        <p15:guide id="52" pos="3696" userDrawn="1">
          <p15:clr>
            <a:srgbClr val="F26B43"/>
          </p15:clr>
        </p15:guide>
        <p15:guide id="53" pos="3984" userDrawn="1">
          <p15:clr>
            <a:srgbClr val="F26B43"/>
          </p15:clr>
        </p15:guide>
        <p15:guide id="54" pos="4296" userDrawn="1">
          <p15:clr>
            <a:srgbClr val="547EBF"/>
          </p15:clr>
        </p15:guide>
        <p15:guide id="56" pos="3840" userDrawn="1">
          <p15:clr>
            <a:srgbClr val="547EBF"/>
          </p15:clr>
        </p15:guide>
        <p15:guide id="57" pos="4032" userDrawn="1">
          <p15:clr>
            <a:srgbClr val="F26B43"/>
          </p15:clr>
        </p15:guide>
        <p15:guide id="58" orient="horz" pos="1248" userDrawn="1">
          <p15:clr>
            <a:srgbClr val="F26B43"/>
          </p15:clr>
        </p15:guide>
        <p15:guide id="59" orient="horz" pos="1200" userDrawn="1">
          <p15:clr>
            <a:srgbClr val="F26B43"/>
          </p15:clr>
        </p15:guide>
        <p15:guide id="60" orient="horz" pos="1560" userDrawn="1">
          <p15:clr>
            <a:srgbClr val="547EBF"/>
          </p15:clr>
        </p15:guide>
        <p15:guide id="61" orient="horz" pos="1512" userDrawn="1">
          <p15:clr>
            <a:srgbClr val="547EBF"/>
          </p15:clr>
        </p15:guide>
        <p15:guide id="62" orient="horz" pos="1824" userDrawn="1">
          <p15:clr>
            <a:srgbClr val="F26B43"/>
          </p15:clr>
        </p15:guide>
        <p15:guide id="63" orient="horz" pos="1872" userDrawn="1">
          <p15:clr>
            <a:srgbClr val="F26B43"/>
          </p15:clr>
        </p15:guide>
        <p15:guide id="64" orient="horz" pos="2136" userDrawn="1">
          <p15:clr>
            <a:srgbClr val="547EBF"/>
          </p15:clr>
        </p15:guide>
        <p15:guide id="65" orient="horz" pos="2184" userDrawn="1">
          <p15:clr>
            <a:srgbClr val="547EBF"/>
          </p15:clr>
        </p15:guide>
        <p15:guide id="66" orient="horz" pos="576" userDrawn="1">
          <p15:clr>
            <a:srgbClr val="F26B43"/>
          </p15:clr>
        </p15:guide>
        <p15:guide id="67" orient="horz" pos="624" userDrawn="1">
          <p15:clr>
            <a:srgbClr val="F26B43"/>
          </p15:clr>
        </p15:guide>
        <p15:guide id="68" orient="horz" pos="936" userDrawn="1">
          <p15:clr>
            <a:srgbClr val="547EBF"/>
          </p15:clr>
        </p15:guide>
        <p15:guide id="69" orient="horz" pos="888" userDrawn="1">
          <p15:clr>
            <a:srgbClr val="547EBF"/>
          </p15:clr>
        </p15:guide>
        <p15:guide id="70" orient="horz" pos="3384" userDrawn="1">
          <p15:clr>
            <a:srgbClr val="547EBF"/>
          </p15:clr>
        </p15:guide>
        <p15:guide id="71" orient="horz" pos="3432" userDrawn="1">
          <p15:clr>
            <a:srgbClr val="547EBF"/>
          </p15:clr>
        </p15:guide>
        <p15:guide id="72" orient="horz" pos="3696" userDrawn="1">
          <p15:clr>
            <a:srgbClr val="F26B43"/>
          </p15:clr>
        </p15:guide>
        <p15:guide id="73" orient="horz" pos="37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svg"/><Relationship Id="rId18" Type="http://schemas.openxmlformats.org/officeDocument/2006/relationships/image" Target="../media/image26.png"/><Relationship Id="rId3" Type="http://schemas.openxmlformats.org/officeDocument/2006/relationships/image" Target="../media/image11.svg"/><Relationship Id="rId21" Type="http://schemas.openxmlformats.org/officeDocument/2006/relationships/image" Target="../media/image29.svg"/><Relationship Id="rId7" Type="http://schemas.openxmlformats.org/officeDocument/2006/relationships/image" Target="../media/image15.svg"/><Relationship Id="rId12" Type="http://schemas.openxmlformats.org/officeDocument/2006/relationships/image" Target="../media/image20.png"/><Relationship Id="rId17" Type="http://schemas.openxmlformats.org/officeDocument/2006/relationships/image" Target="../media/image25.svg"/><Relationship Id="rId2" Type="http://schemas.openxmlformats.org/officeDocument/2006/relationships/image" Target="../media/image10.png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3.svg"/><Relationship Id="rId15" Type="http://schemas.openxmlformats.org/officeDocument/2006/relationships/image" Target="../media/image23.svg"/><Relationship Id="rId23" Type="http://schemas.openxmlformats.org/officeDocument/2006/relationships/image" Target="../media/image31.svg"/><Relationship Id="rId10" Type="http://schemas.openxmlformats.org/officeDocument/2006/relationships/image" Target="../media/image18.png"/><Relationship Id="rId19" Type="http://schemas.openxmlformats.org/officeDocument/2006/relationships/image" Target="../media/image27.svg"/><Relationship Id="rId4" Type="http://schemas.openxmlformats.org/officeDocument/2006/relationships/image" Target="../media/image12.png"/><Relationship Id="rId9" Type="http://schemas.openxmlformats.org/officeDocument/2006/relationships/image" Target="../media/image17.svg"/><Relationship Id="rId14" Type="http://schemas.openxmlformats.org/officeDocument/2006/relationships/image" Target="../media/image22.png"/><Relationship Id="rId22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3" Type="http://schemas.openxmlformats.org/officeDocument/2006/relationships/image" Target="../media/image34.png"/><Relationship Id="rId7" Type="http://schemas.openxmlformats.org/officeDocument/2006/relationships/image" Target="../media/image38.svg"/><Relationship Id="rId12" Type="http://schemas.openxmlformats.org/officeDocument/2006/relationships/image" Target="../media/image43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sv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88ABE47-2957-5CB5-A125-1ED5ADBC0C9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>
                <a:latin typeface="Arial Black"/>
              </a:rPr>
              <a:t>UNIFIED EXPERIENCE PLATFORM (UXP)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853262-24C2-EFED-A242-F3BD13CE3E8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138113"/>
            <a:ext cx="2743200" cy="365125"/>
          </a:xfrm>
        </p:spPr>
        <p:txBody>
          <a:bodyPr/>
          <a:lstStyle/>
          <a:p>
            <a:fld id="{28A7D70B-BA5B-454D-9E9C-85AA311AB73C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6F3F32-1DA9-BBAD-9E36-3F09C0EF8E1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57827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F38486-9786-9908-2667-594E7963B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95302"/>
            <a:ext cx="11353800" cy="445712"/>
          </a:xfrm>
        </p:spPr>
        <p:txBody>
          <a:bodyPr/>
          <a:lstStyle/>
          <a:p>
            <a:r>
              <a:rPr lang="en-US">
                <a:latin typeface="Arial Black"/>
              </a:rPr>
              <a:t>UXP COMPONENTS AND FLO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EF2BB4-2CD4-1801-5EB8-383264073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10</a:t>
            </a:fld>
            <a:endParaRPr lang="en-US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493957DF-DD56-640E-7A0B-951D074ADC71}"/>
              </a:ext>
            </a:extLst>
          </p:cNvPr>
          <p:cNvGrpSpPr/>
          <p:nvPr/>
        </p:nvGrpSpPr>
        <p:grpSpPr>
          <a:xfrm>
            <a:off x="7067226" y="1400117"/>
            <a:ext cx="2214393" cy="1711649"/>
            <a:chOff x="6178767" y="1231504"/>
            <a:chExt cx="2214393" cy="1711649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9696DFB-BEAD-B247-2C24-59C74E53DE0A}"/>
                </a:ext>
              </a:extLst>
            </p:cNvPr>
            <p:cNvSpPr/>
            <p:nvPr/>
          </p:nvSpPr>
          <p:spPr>
            <a:xfrm>
              <a:off x="6178767" y="1231504"/>
              <a:ext cx="2214393" cy="1711649"/>
            </a:xfrm>
            <a:prstGeom prst="roundRect">
              <a:avLst>
                <a:gd name="adj" fmla="val 3607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E5FD3D5C-15E4-AF8E-53D2-B5D642330C65}"/>
                </a:ext>
              </a:extLst>
            </p:cNvPr>
            <p:cNvSpPr/>
            <p:nvPr/>
          </p:nvSpPr>
          <p:spPr>
            <a:xfrm>
              <a:off x="6265848" y="1298226"/>
              <a:ext cx="2060129" cy="236434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ATA</a:t>
              </a: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3DF7F4D3-BCB6-1788-271A-5B47692A8571}"/>
              </a:ext>
            </a:extLst>
          </p:cNvPr>
          <p:cNvGrpSpPr/>
          <p:nvPr/>
        </p:nvGrpSpPr>
        <p:grpSpPr>
          <a:xfrm>
            <a:off x="7067226" y="4217521"/>
            <a:ext cx="2214393" cy="1457178"/>
            <a:chOff x="6178767" y="4048908"/>
            <a:chExt cx="2214393" cy="1457178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BE2EEA7-340A-EED2-A4AA-874AE374C218}"/>
                </a:ext>
              </a:extLst>
            </p:cNvPr>
            <p:cNvSpPr/>
            <p:nvPr/>
          </p:nvSpPr>
          <p:spPr>
            <a:xfrm>
              <a:off x="6178767" y="4048908"/>
              <a:ext cx="2214393" cy="1457178"/>
            </a:xfrm>
            <a:prstGeom prst="roundRect">
              <a:avLst>
                <a:gd name="adj" fmla="val 5397"/>
              </a:avLst>
            </a:prstGeom>
            <a:solidFill>
              <a:srgbClr val="FFC000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D1392F71-6CD5-11FF-5631-E0178946C696}"/>
                </a:ext>
              </a:extLst>
            </p:cNvPr>
            <p:cNvSpPr/>
            <p:nvPr/>
          </p:nvSpPr>
          <p:spPr>
            <a:xfrm>
              <a:off x="6265847" y="4143118"/>
              <a:ext cx="2060129" cy="236434"/>
            </a:xfrm>
            <a:prstGeom prst="roundRect">
              <a:avLst/>
            </a:prstGeom>
            <a:solidFill>
              <a:srgbClr val="FFC00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UTOMATION</a:t>
              </a: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B54E844-B12B-2A20-28FA-473E9CD76E8F}"/>
              </a:ext>
            </a:extLst>
          </p:cNvPr>
          <p:cNvGrpSpPr/>
          <p:nvPr/>
        </p:nvGrpSpPr>
        <p:grpSpPr>
          <a:xfrm>
            <a:off x="2865182" y="1390092"/>
            <a:ext cx="2214393" cy="1721675"/>
            <a:chOff x="1976723" y="1221479"/>
            <a:chExt cx="2214393" cy="1721675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FBAC008C-B3A1-4D50-D1A3-02E5DCADC977}"/>
                </a:ext>
              </a:extLst>
            </p:cNvPr>
            <p:cNvSpPr/>
            <p:nvPr/>
          </p:nvSpPr>
          <p:spPr>
            <a:xfrm>
              <a:off x="1976723" y="1221479"/>
              <a:ext cx="2214393" cy="1721675"/>
            </a:xfrm>
            <a:prstGeom prst="roundRect">
              <a:avLst>
                <a:gd name="adj" fmla="val 3327"/>
              </a:avLst>
            </a:prstGeom>
            <a:solidFill>
              <a:srgbClr val="4472C4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79F7A667-CC84-2C1F-9FE0-EC2B0DDEA28B}"/>
                </a:ext>
              </a:extLst>
            </p:cNvPr>
            <p:cNvSpPr/>
            <p:nvPr/>
          </p:nvSpPr>
          <p:spPr>
            <a:xfrm>
              <a:off x="2057686" y="1295967"/>
              <a:ext cx="2052466" cy="238828"/>
            </a:xfrm>
            <a:prstGeom prst="roundRect">
              <a:avLst/>
            </a:prstGeom>
            <a:solidFill>
              <a:srgbClr val="4472C4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SER INTERFACE</a:t>
              </a: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9" name="Cylinder 48">
            <a:extLst>
              <a:ext uri="{FF2B5EF4-FFF2-40B4-BE49-F238E27FC236}">
                <a16:creationId xmlns:a16="http://schemas.microsoft.com/office/drawing/2014/main" id="{AE88CB24-5E77-FF31-E77B-EB00BD1B997C}"/>
              </a:ext>
            </a:extLst>
          </p:cNvPr>
          <p:cNvSpPr/>
          <p:nvPr/>
        </p:nvSpPr>
        <p:spPr>
          <a:xfrm>
            <a:off x="7968462" y="1915014"/>
            <a:ext cx="561919" cy="565274"/>
          </a:xfrm>
          <a:prstGeom prst="can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DATABASE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098CE0EC-52F4-6086-BD59-0ED116529599}"/>
              </a:ext>
            </a:extLst>
          </p:cNvPr>
          <p:cNvSpPr/>
          <p:nvPr/>
        </p:nvSpPr>
        <p:spPr>
          <a:xfrm>
            <a:off x="2999530" y="1889879"/>
            <a:ext cx="1933635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CAMPAIGN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7BA381ED-090F-FC27-80C5-3B2591D45C25}"/>
              </a:ext>
            </a:extLst>
          </p:cNvPr>
          <p:cNvSpPr/>
          <p:nvPr/>
        </p:nvSpPr>
        <p:spPr>
          <a:xfrm>
            <a:off x="4019184" y="2195485"/>
            <a:ext cx="913981" cy="372050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</a:t>
            </a: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24BD98BE-439A-3156-61E8-70E1B7396456}"/>
              </a:ext>
            </a:extLst>
          </p:cNvPr>
          <p:cNvSpPr/>
          <p:nvPr/>
        </p:nvSpPr>
        <p:spPr>
          <a:xfrm>
            <a:off x="2999530" y="2195485"/>
            <a:ext cx="913981" cy="372050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F92CC1AB-9CA9-A8EC-ABCF-DF7F502F4B20}"/>
              </a:ext>
            </a:extLst>
          </p:cNvPr>
          <p:cNvSpPr/>
          <p:nvPr/>
        </p:nvSpPr>
        <p:spPr>
          <a:xfrm>
            <a:off x="4019184" y="2641525"/>
            <a:ext cx="913981" cy="372050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</a:t>
            </a: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712B564D-C466-3388-C713-8A39FE0B4E03}"/>
              </a:ext>
            </a:extLst>
          </p:cNvPr>
          <p:cNvSpPr/>
          <p:nvPr/>
        </p:nvSpPr>
        <p:spPr>
          <a:xfrm>
            <a:off x="2999529" y="2636355"/>
            <a:ext cx="913981" cy="372050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DD47570-FCA7-9E0B-D5F6-4C5DF1707FE6}"/>
              </a:ext>
            </a:extLst>
          </p:cNvPr>
          <p:cNvGrpSpPr/>
          <p:nvPr/>
        </p:nvGrpSpPr>
        <p:grpSpPr>
          <a:xfrm>
            <a:off x="2865182" y="4217521"/>
            <a:ext cx="2214393" cy="1457179"/>
            <a:chOff x="1976723" y="4048908"/>
            <a:chExt cx="2214393" cy="1457179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8D4387D9-2825-C20C-2461-67FE8389E36E}"/>
                </a:ext>
              </a:extLst>
            </p:cNvPr>
            <p:cNvSpPr/>
            <p:nvPr/>
          </p:nvSpPr>
          <p:spPr>
            <a:xfrm>
              <a:off x="1976723" y="4048908"/>
              <a:ext cx="2214393" cy="1457179"/>
            </a:xfrm>
            <a:prstGeom prst="roundRect">
              <a:avLst>
                <a:gd name="adj" fmla="val 383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31F2DAE5-85EC-24DA-9337-211A47C58372}"/>
                </a:ext>
              </a:extLst>
            </p:cNvPr>
            <p:cNvSpPr/>
            <p:nvPr/>
          </p:nvSpPr>
          <p:spPr>
            <a:xfrm>
              <a:off x="2057687" y="4143118"/>
              <a:ext cx="2052466" cy="236434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/>
            <a:lstStyle/>
            <a:p>
              <a:pPr algn="ctr"/>
              <a:r>
                <a:rPr lang="ca-ES" sz="900">
                  <a:solidFill>
                    <a:prstClr val="black"/>
                  </a:solidFill>
                  <a:latin typeface="Calibri" panose="020F0502020204030204"/>
                </a:rPr>
                <a:t>OTHER SYSTEMS </a:t>
              </a:r>
              <a:br>
                <a:rPr lang="ca-ES" sz="900">
                  <a:solidFill>
                    <a:prstClr val="black"/>
                  </a:solidFill>
                  <a:latin typeface="Calibri" panose="020F0502020204030204"/>
                </a:rPr>
              </a:br>
              <a:r>
                <a:rPr lang="ca-ES" sz="900">
                  <a:solidFill>
                    <a:prstClr val="black"/>
                  </a:solidFill>
                  <a:latin typeface="Calibri" panose="020F0502020204030204"/>
                </a:rPr>
                <a:t>ENRICHMENT  &amp; COLLECTION</a:t>
              </a:r>
              <a:endParaRPr lang="en-GB" sz="90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7C629F06-55B8-16C2-C14C-D1914D6F958F}"/>
              </a:ext>
            </a:extLst>
          </p:cNvPr>
          <p:cNvSpPr/>
          <p:nvPr/>
        </p:nvSpPr>
        <p:spPr>
          <a:xfrm>
            <a:off x="4019185" y="4730796"/>
            <a:ext cx="913981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QR CODES</a:t>
            </a: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5C274BA6-D95E-F4A5-B6C6-0800149C3752}"/>
              </a:ext>
            </a:extLst>
          </p:cNvPr>
          <p:cNvSpPr/>
          <p:nvPr/>
        </p:nvSpPr>
        <p:spPr>
          <a:xfrm>
            <a:off x="2999531" y="4730796"/>
            <a:ext cx="913981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SURVEYS</a:t>
            </a: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54012DF4-C0AD-3442-C643-29049E00BBD9}"/>
              </a:ext>
            </a:extLst>
          </p:cNvPr>
          <p:cNvSpPr/>
          <p:nvPr/>
        </p:nvSpPr>
        <p:spPr>
          <a:xfrm>
            <a:off x="2999530" y="5006468"/>
            <a:ext cx="913981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FIELD MANAGEMENT</a:t>
            </a: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5A59B1BA-E991-AC5D-6A76-862626590DA6}"/>
              </a:ext>
            </a:extLst>
          </p:cNvPr>
          <p:cNvSpPr/>
          <p:nvPr/>
        </p:nvSpPr>
        <p:spPr>
          <a:xfrm>
            <a:off x="4019184" y="5006468"/>
            <a:ext cx="913981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LOCATION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346451AE-F75D-9AEC-967E-AC91D0001850}"/>
              </a:ext>
            </a:extLst>
          </p:cNvPr>
          <p:cNvSpPr/>
          <p:nvPr/>
        </p:nvSpPr>
        <p:spPr>
          <a:xfrm>
            <a:off x="2999530" y="5283673"/>
            <a:ext cx="913981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OTHER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1AD0D746-10C4-7946-688C-E0894C5CA036}"/>
              </a:ext>
            </a:extLst>
          </p:cNvPr>
          <p:cNvSpPr/>
          <p:nvPr/>
        </p:nvSpPr>
        <p:spPr>
          <a:xfrm>
            <a:off x="4019184" y="5283673"/>
            <a:ext cx="913981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OTHER</a:t>
            </a:r>
          </a:p>
        </p:txBody>
      </p: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ABF0C0F5-8A5C-7ABA-BB70-326B049F3B6C}"/>
              </a:ext>
            </a:extLst>
          </p:cNvPr>
          <p:cNvCxnSpPr>
            <a:cxnSpLocks/>
            <a:stCxn id="49" idx="2"/>
            <a:endCxn id="50" idx="3"/>
          </p:cNvCxnSpPr>
          <p:nvPr/>
        </p:nvCxnSpPr>
        <p:spPr>
          <a:xfrm rot="10800000">
            <a:off x="4933166" y="2009293"/>
            <a:ext cx="3035297" cy="18835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30F97226-908A-44A8-A9AD-EA875D96E85B}"/>
              </a:ext>
            </a:extLst>
          </p:cNvPr>
          <p:cNvSpPr/>
          <p:nvPr/>
        </p:nvSpPr>
        <p:spPr>
          <a:xfrm>
            <a:off x="5686953" y="1772630"/>
            <a:ext cx="772894" cy="238828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</a:rPr>
              <a:t>New entry</a:t>
            </a:r>
            <a:endParaRPr lang="en-GB" sz="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D29A6CF5-ACD5-3830-A6B6-CE80D7105FAD}"/>
              </a:ext>
            </a:extLst>
          </p:cNvPr>
          <p:cNvCxnSpPr>
            <a:cxnSpLocks/>
            <a:stCxn id="49" idx="2"/>
            <a:endCxn id="67" idx="3"/>
          </p:cNvCxnSpPr>
          <p:nvPr/>
        </p:nvCxnSpPr>
        <p:spPr>
          <a:xfrm rot="10800000" flipV="1">
            <a:off x="4933166" y="2197650"/>
            <a:ext cx="3035297" cy="18385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A12292E4-0B95-0204-913D-208D6FD3F81F}"/>
              </a:ext>
            </a:extLst>
          </p:cNvPr>
          <p:cNvSpPr/>
          <p:nvPr/>
        </p:nvSpPr>
        <p:spPr>
          <a:xfrm>
            <a:off x="5686953" y="2380887"/>
            <a:ext cx="772894" cy="238828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</a:rPr>
              <a:t>Log data</a:t>
            </a:r>
            <a:endParaRPr lang="en-GB" sz="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2" name="Connector: Elbow 101">
            <a:extLst>
              <a:ext uri="{FF2B5EF4-FFF2-40B4-BE49-F238E27FC236}">
                <a16:creationId xmlns:a16="http://schemas.microsoft.com/office/drawing/2014/main" id="{DA09F2E0-A324-577E-D123-37133160DA9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224741" y="3669839"/>
            <a:ext cx="1095364" cy="1270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52643B71-FA9C-C22A-D7C2-357E30751C76}"/>
              </a:ext>
            </a:extLst>
          </p:cNvPr>
          <p:cNvSpPr/>
          <p:nvPr/>
        </p:nvSpPr>
        <p:spPr>
          <a:xfrm>
            <a:off x="2852542" y="3487241"/>
            <a:ext cx="919881" cy="238828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</a:rPr>
              <a:t>Some apps will have a connection to Create entries</a:t>
            </a:r>
            <a:endParaRPr lang="en-GB" sz="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9" name="Connector: Elbow 108">
            <a:extLst>
              <a:ext uri="{FF2B5EF4-FFF2-40B4-BE49-F238E27FC236}">
                <a16:creationId xmlns:a16="http://schemas.microsoft.com/office/drawing/2014/main" id="{85A7BA46-E968-014D-09CF-9F5FE651176F}"/>
              </a:ext>
            </a:extLst>
          </p:cNvPr>
          <p:cNvCxnSpPr>
            <a:cxnSpLocks/>
          </p:cNvCxnSpPr>
          <p:nvPr/>
        </p:nvCxnSpPr>
        <p:spPr>
          <a:xfrm rot="5400000">
            <a:off x="3611264" y="3675442"/>
            <a:ext cx="1096858" cy="1270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5DE52EA0-F173-ED76-B3CD-866CE749B5EC}"/>
              </a:ext>
            </a:extLst>
          </p:cNvPr>
          <p:cNvSpPr/>
          <p:nvPr/>
        </p:nvSpPr>
        <p:spPr>
          <a:xfrm>
            <a:off x="4225717" y="3487241"/>
            <a:ext cx="772894" cy="238828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</a:rPr>
              <a:t>And send data back</a:t>
            </a:r>
            <a:endParaRPr lang="en-GB" sz="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1C411BB0-5359-3B4F-064E-0E2A3A8AB324}"/>
              </a:ext>
            </a:extLst>
          </p:cNvPr>
          <p:cNvSpPr/>
          <p:nvPr/>
        </p:nvSpPr>
        <p:spPr>
          <a:xfrm>
            <a:off x="3075924" y="2371506"/>
            <a:ext cx="772894" cy="168994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700">
                <a:solidFill>
                  <a:prstClr val="black"/>
                </a:solidFill>
                <a:latin typeface="Calibri" panose="020F0502020204030204"/>
              </a:rPr>
              <a:t>Other system data</a:t>
            </a:r>
            <a:endParaRPr lang="en-GB" sz="700" kern="12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B536A7DA-BC04-51C1-C8E3-19691735DEBD}"/>
              </a:ext>
            </a:extLst>
          </p:cNvPr>
          <p:cNvSpPr/>
          <p:nvPr/>
        </p:nvSpPr>
        <p:spPr>
          <a:xfrm>
            <a:off x="4096101" y="2377236"/>
            <a:ext cx="772894" cy="168994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700">
                <a:solidFill>
                  <a:prstClr val="black"/>
                </a:solidFill>
                <a:latin typeface="Calibri" panose="020F0502020204030204"/>
              </a:rPr>
              <a:t>Other system data</a:t>
            </a:r>
            <a:endParaRPr lang="en-GB" sz="700" kern="12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79781F81-E99E-38EA-B853-4F87FBD408B8}"/>
              </a:ext>
            </a:extLst>
          </p:cNvPr>
          <p:cNvSpPr/>
          <p:nvPr/>
        </p:nvSpPr>
        <p:spPr>
          <a:xfrm>
            <a:off x="3075924" y="2817892"/>
            <a:ext cx="772894" cy="168994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700">
                <a:solidFill>
                  <a:prstClr val="black"/>
                </a:solidFill>
                <a:latin typeface="Calibri" panose="020F0502020204030204"/>
              </a:rPr>
              <a:t>Other system data</a:t>
            </a:r>
            <a:endParaRPr lang="en-GB" sz="700" kern="12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72EEAEDD-27C0-C980-8ECE-8199BCC4D522}"/>
              </a:ext>
            </a:extLst>
          </p:cNvPr>
          <p:cNvSpPr/>
          <p:nvPr/>
        </p:nvSpPr>
        <p:spPr>
          <a:xfrm>
            <a:off x="4096101" y="2812491"/>
            <a:ext cx="772894" cy="168994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700">
                <a:solidFill>
                  <a:prstClr val="black"/>
                </a:solidFill>
                <a:latin typeface="Calibri" panose="020F0502020204030204"/>
              </a:rPr>
              <a:t>Other system data</a:t>
            </a:r>
            <a:endParaRPr lang="en-GB" sz="700" kern="12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D0BF17D7-83CB-51D1-D8A1-BDDF089A0242}"/>
              </a:ext>
            </a:extLst>
          </p:cNvPr>
          <p:cNvSpPr/>
          <p:nvPr/>
        </p:nvSpPr>
        <p:spPr>
          <a:xfrm>
            <a:off x="5686953" y="2174865"/>
            <a:ext cx="772894" cy="238828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</a:rPr>
              <a:t>Update data</a:t>
            </a:r>
            <a:endParaRPr lang="en-GB" sz="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4480EB8B-B57C-0C9F-A1ED-1F3C71A53788}"/>
              </a:ext>
            </a:extLst>
          </p:cNvPr>
          <p:cNvSpPr/>
          <p:nvPr/>
        </p:nvSpPr>
        <p:spPr>
          <a:xfrm>
            <a:off x="7154306" y="2806826"/>
            <a:ext cx="699157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6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CAMPAIGN DATA</a:t>
            </a:r>
          </a:p>
        </p:txBody>
      </p: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9A1BEE9E-96E1-CEB1-5AC6-F05FEC3F4255}"/>
              </a:ext>
            </a:extLst>
          </p:cNvPr>
          <p:cNvSpPr/>
          <p:nvPr/>
        </p:nvSpPr>
        <p:spPr>
          <a:xfrm>
            <a:off x="7870432" y="2806826"/>
            <a:ext cx="365653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0" tIns="0" rIns="0" bIns="0" rtlCol="0" anchor="t"/>
          <a:lstStyle/>
          <a:p>
            <a:pPr algn="ctr">
              <a:buClrTx/>
            </a:pPr>
            <a:r>
              <a:rPr lang="en-GB" sz="6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 DATA</a:t>
            </a: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4F6A97CE-D277-5468-7827-4CB95E1FA503}"/>
              </a:ext>
            </a:extLst>
          </p:cNvPr>
          <p:cNvSpPr/>
          <p:nvPr/>
        </p:nvSpPr>
        <p:spPr>
          <a:xfrm>
            <a:off x="8249421" y="2813201"/>
            <a:ext cx="365653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0" tIns="0" rIns="0" bIns="0" rtlCol="0" anchor="t"/>
          <a:lstStyle/>
          <a:p>
            <a:pPr algn="ctr">
              <a:buClrTx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</a:rPr>
              <a:t>EVENT DATA</a:t>
            </a:r>
          </a:p>
        </p:txBody>
      </p:sp>
      <p:pic>
        <p:nvPicPr>
          <p:cNvPr id="124" name="Picture 123" descr="A calendar with a check mark&#10;&#10;Description automatically generated">
            <a:extLst>
              <a:ext uri="{FF2B5EF4-FFF2-40B4-BE49-F238E27FC236}">
                <a16:creationId xmlns:a16="http://schemas.microsoft.com/office/drawing/2014/main" id="{ADDE727A-5467-98AD-8A6F-521F1AC16A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8699" y="4507494"/>
            <a:ext cx="740665" cy="740665"/>
          </a:xfrm>
          <a:prstGeom prst="rect">
            <a:avLst/>
          </a:prstGeom>
        </p:spPr>
      </p:pic>
      <p:pic>
        <p:nvPicPr>
          <p:cNvPr id="127" name="Picture 126" descr="A cloud with a logo&#10;&#10;Description automatically generated with medium confidence">
            <a:extLst>
              <a:ext uri="{FF2B5EF4-FFF2-40B4-BE49-F238E27FC236}">
                <a16:creationId xmlns:a16="http://schemas.microsoft.com/office/drawing/2014/main" id="{C7B890B2-AFA7-EAE1-A72D-6F7B4F1193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5367" y="1588851"/>
            <a:ext cx="1174776" cy="1174776"/>
          </a:xfrm>
          <a:prstGeom prst="rect">
            <a:avLst/>
          </a:prstGeom>
        </p:spPr>
      </p:pic>
      <p:pic>
        <p:nvPicPr>
          <p:cNvPr id="129" name="Picture 128" descr="A purple gears on a yellow circle&#10;&#10;Description automatically generated">
            <a:extLst>
              <a:ext uri="{FF2B5EF4-FFF2-40B4-BE49-F238E27FC236}">
                <a16:creationId xmlns:a16="http://schemas.microsoft.com/office/drawing/2014/main" id="{A3851889-1108-488C-AF19-0B92E82216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2433" y="4349777"/>
            <a:ext cx="1216339" cy="1216339"/>
          </a:xfrm>
          <a:prstGeom prst="rect">
            <a:avLst/>
          </a:prstGeom>
        </p:spPr>
      </p:pic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39BD78DA-E4A6-D583-EF51-74F8B7E174AD}"/>
              </a:ext>
            </a:extLst>
          </p:cNvPr>
          <p:cNvSpPr/>
          <p:nvPr/>
        </p:nvSpPr>
        <p:spPr>
          <a:xfrm>
            <a:off x="8628410" y="2806826"/>
            <a:ext cx="586025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SYS DATA </a:t>
            </a:r>
          </a:p>
        </p:txBody>
      </p:sp>
      <p:sp>
        <p:nvSpPr>
          <p:cNvPr id="131" name="Flowchart: Connector 130">
            <a:extLst>
              <a:ext uri="{FF2B5EF4-FFF2-40B4-BE49-F238E27FC236}">
                <a16:creationId xmlns:a16="http://schemas.microsoft.com/office/drawing/2014/main" id="{0C9742CC-10BB-0072-60C3-99E4C7E1BD08}"/>
              </a:ext>
            </a:extLst>
          </p:cNvPr>
          <p:cNvSpPr/>
          <p:nvPr/>
        </p:nvSpPr>
        <p:spPr>
          <a:xfrm>
            <a:off x="7955125" y="4827133"/>
            <a:ext cx="561919" cy="565274"/>
          </a:xfrm>
          <a:prstGeom prst="flowChartConnector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>
              <a:buClrTx/>
            </a:pPr>
            <a:r>
              <a:rPr lang="en-GB" sz="7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SCHEDULE</a:t>
            </a:r>
          </a:p>
        </p:txBody>
      </p: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8EB446C3-E38E-CFF9-B37D-562620FBC0DF}"/>
              </a:ext>
            </a:extLst>
          </p:cNvPr>
          <p:cNvCxnSpPr>
            <a:cxnSpLocks/>
          </p:cNvCxnSpPr>
          <p:nvPr/>
        </p:nvCxnSpPr>
        <p:spPr>
          <a:xfrm flipV="1">
            <a:off x="5079575" y="4777596"/>
            <a:ext cx="1987651" cy="393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0AE58A2A-6E70-7573-2560-3F8473907A49}"/>
              </a:ext>
            </a:extLst>
          </p:cNvPr>
          <p:cNvSpPr/>
          <p:nvPr/>
        </p:nvSpPr>
        <p:spPr>
          <a:xfrm>
            <a:off x="5653915" y="4538768"/>
            <a:ext cx="772894" cy="238828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</a:rPr>
              <a:t>Interrogate data</a:t>
            </a:r>
            <a:endParaRPr lang="en-GB" sz="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47033054-20FE-62E3-2F7B-2CC84EB7BE1F}"/>
              </a:ext>
            </a:extLst>
          </p:cNvPr>
          <p:cNvCxnSpPr>
            <a:cxnSpLocks/>
          </p:cNvCxnSpPr>
          <p:nvPr/>
        </p:nvCxnSpPr>
        <p:spPr>
          <a:xfrm rot="10800000">
            <a:off x="5079576" y="5188085"/>
            <a:ext cx="1987653" cy="1270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: Rounded Corners 134">
            <a:extLst>
              <a:ext uri="{FF2B5EF4-FFF2-40B4-BE49-F238E27FC236}">
                <a16:creationId xmlns:a16="http://schemas.microsoft.com/office/drawing/2014/main" id="{71F9FA55-8658-B67D-2095-4AEC74CAE041}"/>
              </a:ext>
            </a:extLst>
          </p:cNvPr>
          <p:cNvSpPr/>
          <p:nvPr/>
        </p:nvSpPr>
        <p:spPr>
          <a:xfrm>
            <a:off x="5517407" y="4983618"/>
            <a:ext cx="1111986" cy="238828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</a:rPr>
              <a:t>Receive information</a:t>
            </a:r>
            <a:endParaRPr lang="en-GB" sz="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1" name="Connector: Elbow 140">
            <a:extLst>
              <a:ext uri="{FF2B5EF4-FFF2-40B4-BE49-F238E27FC236}">
                <a16:creationId xmlns:a16="http://schemas.microsoft.com/office/drawing/2014/main" id="{F034A544-7646-5118-76DD-5DF21DB4C4B1}"/>
              </a:ext>
            </a:extLst>
          </p:cNvPr>
          <p:cNvCxnSpPr>
            <a:cxnSpLocks/>
          </p:cNvCxnSpPr>
          <p:nvPr/>
        </p:nvCxnSpPr>
        <p:spPr>
          <a:xfrm rot="5400000">
            <a:off x="7634968" y="3637563"/>
            <a:ext cx="1096858" cy="1270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9E681295-037D-592A-A491-D4F3462D007C}"/>
              </a:ext>
            </a:extLst>
          </p:cNvPr>
          <p:cNvSpPr/>
          <p:nvPr/>
        </p:nvSpPr>
        <p:spPr>
          <a:xfrm>
            <a:off x="8177871" y="3451053"/>
            <a:ext cx="772894" cy="238828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</a:rPr>
              <a:t>Update data</a:t>
            </a:r>
            <a:endParaRPr lang="en-GB" sz="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4" name="Connector: Elbow 143">
            <a:extLst>
              <a:ext uri="{FF2B5EF4-FFF2-40B4-BE49-F238E27FC236}">
                <a16:creationId xmlns:a16="http://schemas.microsoft.com/office/drawing/2014/main" id="{6A954D52-53BE-8AB7-1F08-F021EF57E85C}"/>
              </a:ext>
            </a:extLst>
          </p:cNvPr>
          <p:cNvCxnSpPr>
            <a:cxnSpLocks/>
          </p:cNvCxnSpPr>
          <p:nvPr/>
        </p:nvCxnSpPr>
        <p:spPr>
          <a:xfrm flipV="1">
            <a:off x="5076400" y="2745385"/>
            <a:ext cx="1990826" cy="1387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tangle: Rounded Corners 144">
            <a:extLst>
              <a:ext uri="{FF2B5EF4-FFF2-40B4-BE49-F238E27FC236}">
                <a16:creationId xmlns:a16="http://schemas.microsoft.com/office/drawing/2014/main" id="{CED2659B-B326-5047-0EFA-1E77CE102844}"/>
              </a:ext>
            </a:extLst>
          </p:cNvPr>
          <p:cNvSpPr/>
          <p:nvPr/>
        </p:nvSpPr>
        <p:spPr>
          <a:xfrm>
            <a:off x="5700720" y="2793974"/>
            <a:ext cx="772894" cy="238828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</a:rPr>
              <a:t>Display data</a:t>
            </a:r>
            <a:endParaRPr lang="en-GB" sz="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33C41AA-AAE0-9C3F-2963-FAE21B43E7B3}"/>
              </a:ext>
            </a:extLst>
          </p:cNvPr>
          <p:cNvGrpSpPr/>
          <p:nvPr/>
        </p:nvGrpSpPr>
        <p:grpSpPr>
          <a:xfrm>
            <a:off x="1777102" y="1808638"/>
            <a:ext cx="773694" cy="773694"/>
            <a:chOff x="1777102" y="1808638"/>
            <a:chExt cx="773694" cy="773694"/>
          </a:xfrm>
        </p:grpSpPr>
        <p:pic>
          <p:nvPicPr>
            <p:cNvPr id="87" name="Picture 86" descr="A person with brown hair&#10;&#10;Description automatically generated">
              <a:extLst>
                <a:ext uri="{FF2B5EF4-FFF2-40B4-BE49-F238E27FC236}">
                  <a16:creationId xmlns:a16="http://schemas.microsoft.com/office/drawing/2014/main" id="{A416CEA9-96F4-163E-2092-A9673AF668F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77102" y="1808638"/>
              <a:ext cx="773694" cy="773694"/>
            </a:xfrm>
            <a:prstGeom prst="rect">
              <a:avLst/>
            </a:prstGeom>
          </p:spPr>
        </p:pic>
        <p:pic>
          <p:nvPicPr>
            <p:cNvPr id="152" name="Picture 151" descr="A white letter on a black background&#10;&#10;Description automatically generated">
              <a:extLst>
                <a:ext uri="{FF2B5EF4-FFF2-40B4-BE49-F238E27FC236}">
                  <a16:creationId xmlns:a16="http://schemas.microsoft.com/office/drawing/2014/main" id="{911CF97F-5B92-B529-3C4D-C29DF64EEA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75445" y="1940112"/>
              <a:ext cx="377008" cy="377189"/>
            </a:xfrm>
            <a:prstGeom prst="rect">
              <a:avLst/>
            </a:prstGeom>
          </p:spPr>
        </p:pic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5B5126D-B3DA-9FEF-BD4F-6E9607C52DF0}"/>
              </a:ext>
            </a:extLst>
          </p:cNvPr>
          <p:cNvSpPr/>
          <p:nvPr/>
        </p:nvSpPr>
        <p:spPr>
          <a:xfrm>
            <a:off x="7154306" y="2579571"/>
            <a:ext cx="699157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CAMPAIGN I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781B87C-2B19-FA96-D9DA-D423C447CFF0}"/>
              </a:ext>
            </a:extLst>
          </p:cNvPr>
          <p:cNvSpPr/>
          <p:nvPr/>
        </p:nvSpPr>
        <p:spPr>
          <a:xfrm>
            <a:off x="7870432" y="2575918"/>
            <a:ext cx="365653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0" tIns="36000" rIns="0" bIns="36000" rtlCol="0" anchor="t"/>
          <a:lstStyle/>
          <a:p>
            <a:pPr algn="ctr">
              <a:buClrTx/>
            </a:pPr>
            <a:r>
              <a:rPr lang="en-GB" sz="6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 ID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EBC489-4A0C-B1A4-9E20-894F0EC17C42}"/>
              </a:ext>
            </a:extLst>
          </p:cNvPr>
          <p:cNvSpPr/>
          <p:nvPr/>
        </p:nvSpPr>
        <p:spPr>
          <a:xfrm>
            <a:off x="8249421" y="2582293"/>
            <a:ext cx="365653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0" tIns="36000" rIns="0" bIns="36000" rtlCol="0" anchor="t"/>
          <a:lstStyle/>
          <a:p>
            <a:pPr algn="ctr">
              <a:buClrTx/>
            </a:pPr>
            <a:r>
              <a:rPr lang="en-GB" sz="6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 ID</a:t>
            </a:r>
          </a:p>
        </p:txBody>
      </p:sp>
    </p:spTree>
    <p:extLst>
      <p:ext uri="{BB962C8B-B14F-4D97-AF65-F5344CB8AC3E}">
        <p14:creationId xmlns:p14="http://schemas.microsoft.com/office/powerpoint/2010/main" val="27958999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250"/>
                            </p:stCondLst>
                            <p:childTnLst>
                              <p:par>
                                <p:cTn id="8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750"/>
                            </p:stCondLst>
                            <p:childTnLst>
                              <p:par>
                                <p:cTn id="8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2250"/>
                            </p:stCondLst>
                            <p:childTnLst>
                              <p:par>
                                <p:cTn id="9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2750"/>
                            </p:stCondLst>
                            <p:childTnLst>
                              <p:par>
                                <p:cTn id="9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3250"/>
                            </p:stCondLst>
                            <p:childTnLst>
                              <p:par>
                                <p:cTn id="10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2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500"/>
                            </p:stCondLst>
                            <p:childTnLst>
                              <p:par>
                                <p:cTn id="11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8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8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3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8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0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1" fill="hold">
                            <p:stCondLst>
                              <p:cond delay="2250"/>
                            </p:stCondLst>
                            <p:childTnLst>
                              <p:par>
                                <p:cTn id="1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4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2750"/>
                            </p:stCondLst>
                            <p:childTnLst>
                              <p:par>
                                <p:cTn id="15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8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9" fill="hold">
                            <p:stCondLst>
                              <p:cond delay="3250"/>
                            </p:stCondLst>
                            <p:childTnLst>
                              <p:par>
                                <p:cTn id="16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2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3" fill="hold">
                            <p:stCondLst>
                              <p:cond delay="3750"/>
                            </p:stCondLst>
                            <p:childTnLst>
                              <p:par>
                                <p:cTn id="16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6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2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5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6" fill="hold">
                      <p:stCondLst>
                        <p:cond delay="indefinite"/>
                      </p:stCondLst>
                      <p:childTnLst>
                        <p:par>
                          <p:cTn id="177" fill="hold">
                            <p:stCondLst>
                              <p:cond delay="0"/>
                            </p:stCondLst>
                            <p:childTnLst>
                              <p:par>
                                <p:cTn id="17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9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2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500"/>
                            </p:stCondLst>
                            <p:childTnLst>
                              <p:par>
                                <p:cTn id="19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4" fill="hold">
                            <p:stCondLst>
                              <p:cond delay="1000"/>
                            </p:stCondLst>
                            <p:childTnLst>
                              <p:par>
                                <p:cTn id="19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7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2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3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4" fill="hold">
                      <p:stCondLst>
                        <p:cond delay="indefinite"/>
                      </p:stCondLst>
                      <p:childTnLst>
                        <p:par>
                          <p:cTn id="205" fill="hold">
                            <p:stCondLst>
                              <p:cond delay="0"/>
                            </p:stCondLst>
                            <p:childTnLst>
                              <p:par>
                                <p:cTn id="206" presetID="2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20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0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4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7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8" fill="hold">
                            <p:stCondLst>
                              <p:cond delay="500"/>
                            </p:stCondLst>
                            <p:childTnLst>
                              <p:par>
                                <p:cTn id="2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1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4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8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9" fill="hold">
                      <p:stCondLst>
                        <p:cond delay="indefinite"/>
                      </p:stCondLst>
                      <p:childTnLst>
                        <p:par>
                          <p:cTn id="230" fill="hold">
                            <p:stCondLst>
                              <p:cond delay="0"/>
                            </p:stCondLst>
                            <p:childTnLst>
                              <p:par>
                                <p:cTn id="23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2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5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7" fill="hold">
                      <p:stCondLst>
                        <p:cond delay="indefinite"/>
                      </p:stCondLst>
                      <p:childTnLst>
                        <p:par>
                          <p:cTn id="238" fill="hold">
                            <p:stCondLst>
                              <p:cond delay="0"/>
                            </p:stCondLst>
                            <p:childTnLst>
                              <p:par>
                                <p:cTn id="2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1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2" fill="hold">
                            <p:stCondLst>
                              <p:cond delay="500"/>
                            </p:stCondLst>
                            <p:childTnLst>
                              <p:par>
                                <p:cTn id="2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5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6" fill="hold">
                      <p:stCondLst>
                        <p:cond delay="indefinite"/>
                      </p:stCondLst>
                      <p:childTnLst>
                        <p:par>
                          <p:cTn id="247" fill="hold">
                            <p:stCondLst>
                              <p:cond delay="0"/>
                            </p:stCondLst>
                            <p:childTnLst>
                              <p:par>
                                <p:cTn id="24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9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2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6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7" fill="hold">
                            <p:stCondLst>
                              <p:cond delay="500"/>
                            </p:stCondLst>
                            <p:childTnLst>
                              <p:par>
                                <p:cTn id="25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0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1" fill="hold">
                      <p:stCondLst>
                        <p:cond delay="indefinite"/>
                      </p:stCondLst>
                      <p:childTnLst>
                        <p:par>
                          <p:cTn id="262" fill="hold">
                            <p:stCondLst>
                              <p:cond delay="0"/>
                            </p:stCondLst>
                            <p:childTnLst>
                              <p:par>
                                <p:cTn id="26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4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7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9" fill="hold">
                      <p:stCondLst>
                        <p:cond delay="indefinite"/>
                      </p:stCondLst>
                      <p:childTnLst>
                        <p:par>
                          <p:cTn id="270" fill="hold">
                            <p:stCondLst>
                              <p:cond delay="0"/>
                            </p:stCondLst>
                            <p:childTnLst>
                              <p:par>
                                <p:cTn id="271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3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4" fill="hold">
                            <p:stCondLst>
                              <p:cond delay="500"/>
                            </p:stCondLst>
                            <p:childTnLst>
                              <p:par>
                                <p:cTn id="27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7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8" fill="hold">
                      <p:stCondLst>
                        <p:cond delay="indefinite"/>
                      </p:stCondLst>
                      <p:childTnLst>
                        <p:par>
                          <p:cTn id="279" fill="hold">
                            <p:stCondLst>
                              <p:cond delay="0"/>
                            </p:stCondLst>
                            <p:childTnLst>
                              <p:par>
                                <p:cTn id="28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1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4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0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84" grpId="0" animBg="1"/>
      <p:bldP spid="85" grpId="0" animBg="1"/>
      <p:bldP spid="97" grpId="0"/>
      <p:bldP spid="97" grpId="1"/>
      <p:bldP spid="99" grpId="0"/>
      <p:bldP spid="99" grpId="1"/>
      <p:bldP spid="103" grpId="0"/>
      <p:bldP spid="103" grpId="1"/>
      <p:bldP spid="110" grpId="0"/>
      <p:bldP spid="110" grpId="1"/>
      <p:bldP spid="114" grpId="0"/>
      <p:bldP spid="115" grpId="0"/>
      <p:bldP spid="116" grpId="0"/>
      <p:bldP spid="117" grpId="0"/>
      <p:bldP spid="118" grpId="0"/>
      <p:bldP spid="118" grpId="1"/>
      <p:bldP spid="120" grpId="0" animBg="1"/>
      <p:bldP spid="121" grpId="0" animBg="1"/>
      <p:bldP spid="122" grpId="0" animBg="1"/>
      <p:bldP spid="130" grpId="0" animBg="1"/>
      <p:bldP spid="131" grpId="0" animBg="1"/>
      <p:bldP spid="133" grpId="0"/>
      <p:bldP spid="133" grpId="1"/>
      <p:bldP spid="135" grpId="0"/>
      <p:bldP spid="135" grpId="1"/>
      <p:bldP spid="142" grpId="0"/>
      <p:bldP spid="142" grpId="1"/>
      <p:bldP spid="145" grpId="0"/>
      <p:bldP spid="145" grpId="1"/>
      <p:bldP spid="5" grpId="0" animBg="1"/>
      <p:bldP spid="7" grpId="0" animBg="1"/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F4C8508D-2D0E-D1F2-EE4A-B8D7C8F3EBB1}"/>
              </a:ext>
            </a:extLst>
          </p:cNvPr>
          <p:cNvGrpSpPr/>
          <p:nvPr/>
        </p:nvGrpSpPr>
        <p:grpSpPr>
          <a:xfrm>
            <a:off x="7818188" y="1400117"/>
            <a:ext cx="2214393" cy="1711649"/>
            <a:chOff x="6178767" y="1231504"/>
            <a:chExt cx="2214393" cy="1711649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92DB2CB6-3F86-5598-21A7-34A54E8CAC68}"/>
                </a:ext>
              </a:extLst>
            </p:cNvPr>
            <p:cNvSpPr/>
            <p:nvPr/>
          </p:nvSpPr>
          <p:spPr>
            <a:xfrm>
              <a:off x="6178767" y="1231504"/>
              <a:ext cx="2214393" cy="1711649"/>
            </a:xfrm>
            <a:prstGeom prst="roundRect">
              <a:avLst>
                <a:gd name="adj" fmla="val 360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0B82C7FC-E6A9-4DB2-8E77-E094A4403EDB}"/>
                </a:ext>
              </a:extLst>
            </p:cNvPr>
            <p:cNvSpPr/>
            <p:nvPr/>
          </p:nvSpPr>
          <p:spPr>
            <a:xfrm>
              <a:off x="6265848" y="1298226"/>
              <a:ext cx="2060129" cy="236434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I &amp; INSIGHT</a:t>
              </a: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FF38486-9786-9908-2667-594E7963B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95302"/>
            <a:ext cx="11353800" cy="445712"/>
          </a:xfrm>
        </p:spPr>
        <p:txBody>
          <a:bodyPr/>
          <a:lstStyle/>
          <a:p>
            <a:r>
              <a:rPr lang="en-US">
                <a:latin typeface="Arial Black"/>
              </a:rPr>
              <a:t>UXP COMPONENTS AND FLO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EF2BB4-2CD4-1801-5EB8-383264073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11</a:t>
            </a:fld>
            <a:endParaRPr lang="en-US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493957DF-DD56-640E-7A0B-951D074ADC71}"/>
              </a:ext>
            </a:extLst>
          </p:cNvPr>
          <p:cNvGrpSpPr/>
          <p:nvPr/>
        </p:nvGrpSpPr>
        <p:grpSpPr>
          <a:xfrm>
            <a:off x="3433300" y="1400117"/>
            <a:ext cx="2214393" cy="1711649"/>
            <a:chOff x="6178767" y="1231504"/>
            <a:chExt cx="2214393" cy="1711649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9696DFB-BEAD-B247-2C24-59C74E53DE0A}"/>
                </a:ext>
              </a:extLst>
            </p:cNvPr>
            <p:cNvSpPr/>
            <p:nvPr/>
          </p:nvSpPr>
          <p:spPr>
            <a:xfrm>
              <a:off x="6178767" y="1231504"/>
              <a:ext cx="2214393" cy="1711649"/>
            </a:xfrm>
            <a:prstGeom prst="roundRect">
              <a:avLst>
                <a:gd name="adj" fmla="val 3607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E5FD3D5C-15E4-AF8E-53D2-B5D642330C65}"/>
                </a:ext>
              </a:extLst>
            </p:cNvPr>
            <p:cNvSpPr/>
            <p:nvPr/>
          </p:nvSpPr>
          <p:spPr>
            <a:xfrm>
              <a:off x="6265848" y="1298226"/>
              <a:ext cx="2060129" cy="236434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ATA</a:t>
              </a: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3DF7F4D3-BCB6-1788-271A-5B47692A8571}"/>
              </a:ext>
            </a:extLst>
          </p:cNvPr>
          <p:cNvGrpSpPr/>
          <p:nvPr/>
        </p:nvGrpSpPr>
        <p:grpSpPr>
          <a:xfrm>
            <a:off x="3433300" y="4217521"/>
            <a:ext cx="2214393" cy="1457178"/>
            <a:chOff x="6178767" y="4048908"/>
            <a:chExt cx="2214393" cy="1457178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BE2EEA7-340A-EED2-A4AA-874AE374C218}"/>
                </a:ext>
              </a:extLst>
            </p:cNvPr>
            <p:cNvSpPr/>
            <p:nvPr/>
          </p:nvSpPr>
          <p:spPr>
            <a:xfrm>
              <a:off x="6178767" y="4048908"/>
              <a:ext cx="2214393" cy="1457178"/>
            </a:xfrm>
            <a:prstGeom prst="roundRect">
              <a:avLst>
                <a:gd name="adj" fmla="val 5397"/>
              </a:avLst>
            </a:prstGeom>
            <a:solidFill>
              <a:srgbClr val="FFC000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D1392F71-6CD5-11FF-5631-E0178946C696}"/>
                </a:ext>
              </a:extLst>
            </p:cNvPr>
            <p:cNvSpPr/>
            <p:nvPr/>
          </p:nvSpPr>
          <p:spPr>
            <a:xfrm>
              <a:off x="6265847" y="4143118"/>
              <a:ext cx="2060129" cy="236434"/>
            </a:xfrm>
            <a:prstGeom prst="roundRect">
              <a:avLst/>
            </a:prstGeom>
            <a:solidFill>
              <a:srgbClr val="FFC000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UTOMATION</a:t>
              </a: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B54E844-B12B-2A20-28FA-473E9CD76E8F}"/>
              </a:ext>
            </a:extLst>
          </p:cNvPr>
          <p:cNvGrpSpPr/>
          <p:nvPr/>
        </p:nvGrpSpPr>
        <p:grpSpPr>
          <a:xfrm>
            <a:off x="621963" y="1390092"/>
            <a:ext cx="2214393" cy="1721675"/>
            <a:chOff x="1976723" y="1221479"/>
            <a:chExt cx="2214393" cy="1721675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FBAC008C-B3A1-4D50-D1A3-02E5DCADC977}"/>
                </a:ext>
              </a:extLst>
            </p:cNvPr>
            <p:cNvSpPr/>
            <p:nvPr/>
          </p:nvSpPr>
          <p:spPr>
            <a:xfrm>
              <a:off x="1976723" y="1221479"/>
              <a:ext cx="2214393" cy="1721675"/>
            </a:xfrm>
            <a:prstGeom prst="roundRect">
              <a:avLst>
                <a:gd name="adj" fmla="val 3327"/>
              </a:avLst>
            </a:prstGeom>
            <a:solidFill>
              <a:srgbClr val="4472C4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79F7A667-CC84-2C1F-9FE0-EC2B0DDEA28B}"/>
                </a:ext>
              </a:extLst>
            </p:cNvPr>
            <p:cNvSpPr/>
            <p:nvPr/>
          </p:nvSpPr>
          <p:spPr>
            <a:xfrm>
              <a:off x="2057686" y="1295967"/>
              <a:ext cx="2052466" cy="238828"/>
            </a:xfrm>
            <a:prstGeom prst="roundRect">
              <a:avLst/>
            </a:prstGeom>
            <a:solidFill>
              <a:srgbClr val="4472C4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SER INTERFACE</a:t>
              </a:r>
              <a:endParaRPr kumimoji="0" lang="en-GB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9" name="Cylinder 48">
            <a:extLst>
              <a:ext uri="{FF2B5EF4-FFF2-40B4-BE49-F238E27FC236}">
                <a16:creationId xmlns:a16="http://schemas.microsoft.com/office/drawing/2014/main" id="{AE88CB24-5E77-FF31-E77B-EB00BD1B997C}"/>
              </a:ext>
            </a:extLst>
          </p:cNvPr>
          <p:cNvSpPr/>
          <p:nvPr/>
        </p:nvSpPr>
        <p:spPr>
          <a:xfrm>
            <a:off x="4334536" y="1915014"/>
            <a:ext cx="561919" cy="565274"/>
          </a:xfrm>
          <a:prstGeom prst="can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DATABASE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098CE0EC-52F4-6086-BD59-0ED116529599}"/>
              </a:ext>
            </a:extLst>
          </p:cNvPr>
          <p:cNvSpPr/>
          <p:nvPr/>
        </p:nvSpPr>
        <p:spPr>
          <a:xfrm>
            <a:off x="756311" y="1889879"/>
            <a:ext cx="1933635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CAMPAIGN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7BA381ED-090F-FC27-80C5-3B2591D45C25}"/>
              </a:ext>
            </a:extLst>
          </p:cNvPr>
          <p:cNvSpPr/>
          <p:nvPr/>
        </p:nvSpPr>
        <p:spPr>
          <a:xfrm>
            <a:off x="1775965" y="2195485"/>
            <a:ext cx="913981" cy="372050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</a:t>
            </a: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24BD98BE-439A-3156-61E8-70E1B7396456}"/>
              </a:ext>
            </a:extLst>
          </p:cNvPr>
          <p:cNvSpPr/>
          <p:nvPr/>
        </p:nvSpPr>
        <p:spPr>
          <a:xfrm>
            <a:off x="756311" y="2195485"/>
            <a:ext cx="913981" cy="372050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F92CC1AB-9CA9-A8EC-ABCF-DF7F502F4B20}"/>
              </a:ext>
            </a:extLst>
          </p:cNvPr>
          <p:cNvSpPr/>
          <p:nvPr/>
        </p:nvSpPr>
        <p:spPr>
          <a:xfrm>
            <a:off x="1775965" y="2641525"/>
            <a:ext cx="913981" cy="372050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</a:t>
            </a: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712B564D-C466-3388-C713-8A39FE0B4E03}"/>
              </a:ext>
            </a:extLst>
          </p:cNvPr>
          <p:cNvSpPr/>
          <p:nvPr/>
        </p:nvSpPr>
        <p:spPr>
          <a:xfrm>
            <a:off x="756310" y="2636355"/>
            <a:ext cx="913981" cy="372050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DD47570-FCA7-9E0B-D5F6-4C5DF1707FE6}"/>
              </a:ext>
            </a:extLst>
          </p:cNvPr>
          <p:cNvGrpSpPr/>
          <p:nvPr/>
        </p:nvGrpSpPr>
        <p:grpSpPr>
          <a:xfrm>
            <a:off x="621963" y="4217521"/>
            <a:ext cx="2214393" cy="1457179"/>
            <a:chOff x="1976723" y="4048908"/>
            <a:chExt cx="2214393" cy="1457179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8D4387D9-2825-C20C-2461-67FE8389E36E}"/>
                </a:ext>
              </a:extLst>
            </p:cNvPr>
            <p:cNvSpPr/>
            <p:nvPr/>
          </p:nvSpPr>
          <p:spPr>
            <a:xfrm>
              <a:off x="1976723" y="4048908"/>
              <a:ext cx="2214393" cy="1457179"/>
            </a:xfrm>
            <a:prstGeom prst="roundRect">
              <a:avLst>
                <a:gd name="adj" fmla="val 383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31F2DAE5-85EC-24DA-9337-211A47C58372}"/>
                </a:ext>
              </a:extLst>
            </p:cNvPr>
            <p:cNvSpPr/>
            <p:nvPr/>
          </p:nvSpPr>
          <p:spPr>
            <a:xfrm>
              <a:off x="2057687" y="4143118"/>
              <a:ext cx="2052466" cy="236434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wrap="square" rtlCol="0" anchor="ctr"/>
            <a:lstStyle/>
            <a:p>
              <a:pPr algn="ctr"/>
              <a:r>
                <a:rPr lang="ca-ES" sz="900">
                  <a:solidFill>
                    <a:prstClr val="black"/>
                  </a:solidFill>
                  <a:latin typeface="Calibri" panose="020F0502020204030204"/>
                </a:rPr>
                <a:t>OTHER SYSTEMS </a:t>
              </a:r>
              <a:br>
                <a:rPr lang="ca-ES" sz="900">
                  <a:solidFill>
                    <a:prstClr val="black"/>
                  </a:solidFill>
                  <a:latin typeface="Calibri" panose="020F0502020204030204"/>
                </a:rPr>
              </a:br>
              <a:r>
                <a:rPr lang="ca-ES" sz="900">
                  <a:solidFill>
                    <a:prstClr val="black"/>
                  </a:solidFill>
                  <a:latin typeface="Calibri" panose="020F0502020204030204"/>
                </a:rPr>
                <a:t>ENRICHMENT  &amp; COLLECTION</a:t>
              </a:r>
              <a:endParaRPr lang="en-GB" sz="90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7C629F06-55B8-16C2-C14C-D1914D6F958F}"/>
              </a:ext>
            </a:extLst>
          </p:cNvPr>
          <p:cNvSpPr/>
          <p:nvPr/>
        </p:nvSpPr>
        <p:spPr>
          <a:xfrm>
            <a:off x="1775966" y="4730796"/>
            <a:ext cx="913981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QR CODES</a:t>
            </a: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5C274BA6-D95E-F4A5-B6C6-0800149C3752}"/>
              </a:ext>
            </a:extLst>
          </p:cNvPr>
          <p:cNvSpPr/>
          <p:nvPr/>
        </p:nvSpPr>
        <p:spPr>
          <a:xfrm>
            <a:off x="756312" y="4730796"/>
            <a:ext cx="913981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SURVEYS</a:t>
            </a: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54012DF4-C0AD-3442-C643-29049E00BBD9}"/>
              </a:ext>
            </a:extLst>
          </p:cNvPr>
          <p:cNvSpPr/>
          <p:nvPr/>
        </p:nvSpPr>
        <p:spPr>
          <a:xfrm>
            <a:off x="756311" y="5006468"/>
            <a:ext cx="913981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FIELD MANAGEMENT</a:t>
            </a: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5A59B1BA-E991-AC5D-6A76-862626590DA6}"/>
              </a:ext>
            </a:extLst>
          </p:cNvPr>
          <p:cNvSpPr/>
          <p:nvPr/>
        </p:nvSpPr>
        <p:spPr>
          <a:xfrm>
            <a:off x="1775965" y="5006468"/>
            <a:ext cx="913981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LOCATION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346451AE-F75D-9AEC-967E-AC91D0001850}"/>
              </a:ext>
            </a:extLst>
          </p:cNvPr>
          <p:cNvSpPr/>
          <p:nvPr/>
        </p:nvSpPr>
        <p:spPr>
          <a:xfrm>
            <a:off x="756311" y="5283673"/>
            <a:ext cx="913981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OTHER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1AD0D746-10C4-7946-688C-E0894C5CA036}"/>
              </a:ext>
            </a:extLst>
          </p:cNvPr>
          <p:cNvSpPr/>
          <p:nvPr/>
        </p:nvSpPr>
        <p:spPr>
          <a:xfrm>
            <a:off x="1775965" y="5283673"/>
            <a:ext cx="913981" cy="238828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OTHER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1C411BB0-5359-3B4F-064E-0E2A3A8AB324}"/>
              </a:ext>
            </a:extLst>
          </p:cNvPr>
          <p:cNvSpPr/>
          <p:nvPr/>
        </p:nvSpPr>
        <p:spPr>
          <a:xfrm>
            <a:off x="832705" y="2371506"/>
            <a:ext cx="772894" cy="168994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700">
                <a:solidFill>
                  <a:prstClr val="black"/>
                </a:solidFill>
                <a:latin typeface="Calibri" panose="020F0502020204030204"/>
              </a:rPr>
              <a:t>Other system data</a:t>
            </a:r>
            <a:endParaRPr lang="en-GB" sz="700" kern="12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B536A7DA-BC04-51C1-C8E3-19691735DEBD}"/>
              </a:ext>
            </a:extLst>
          </p:cNvPr>
          <p:cNvSpPr/>
          <p:nvPr/>
        </p:nvSpPr>
        <p:spPr>
          <a:xfrm>
            <a:off x="1852882" y="2377236"/>
            <a:ext cx="772894" cy="168994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700">
                <a:solidFill>
                  <a:prstClr val="black"/>
                </a:solidFill>
                <a:latin typeface="Calibri" panose="020F0502020204030204"/>
              </a:rPr>
              <a:t>Other system data</a:t>
            </a:r>
            <a:endParaRPr lang="en-GB" sz="700" kern="12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79781F81-E99E-38EA-B853-4F87FBD408B8}"/>
              </a:ext>
            </a:extLst>
          </p:cNvPr>
          <p:cNvSpPr/>
          <p:nvPr/>
        </p:nvSpPr>
        <p:spPr>
          <a:xfrm>
            <a:off x="832705" y="2817892"/>
            <a:ext cx="772894" cy="168994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700">
                <a:solidFill>
                  <a:prstClr val="black"/>
                </a:solidFill>
                <a:latin typeface="Calibri" panose="020F0502020204030204"/>
              </a:rPr>
              <a:t>Other system data</a:t>
            </a:r>
            <a:endParaRPr lang="en-GB" sz="700" kern="12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72EEAEDD-27C0-C980-8ECE-8199BCC4D522}"/>
              </a:ext>
            </a:extLst>
          </p:cNvPr>
          <p:cNvSpPr/>
          <p:nvPr/>
        </p:nvSpPr>
        <p:spPr>
          <a:xfrm>
            <a:off x="1852882" y="2812491"/>
            <a:ext cx="772894" cy="168994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700">
                <a:solidFill>
                  <a:prstClr val="black"/>
                </a:solidFill>
                <a:latin typeface="Calibri" panose="020F0502020204030204"/>
              </a:rPr>
              <a:t>Other system data</a:t>
            </a:r>
            <a:endParaRPr lang="en-GB" sz="700" kern="12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1" name="Flowchart: Connector 130">
            <a:extLst>
              <a:ext uri="{FF2B5EF4-FFF2-40B4-BE49-F238E27FC236}">
                <a16:creationId xmlns:a16="http://schemas.microsoft.com/office/drawing/2014/main" id="{0C9742CC-10BB-0072-60C3-99E4C7E1BD08}"/>
              </a:ext>
            </a:extLst>
          </p:cNvPr>
          <p:cNvSpPr/>
          <p:nvPr/>
        </p:nvSpPr>
        <p:spPr>
          <a:xfrm>
            <a:off x="4321199" y="4827133"/>
            <a:ext cx="561919" cy="565274"/>
          </a:xfrm>
          <a:prstGeom prst="flowChartConnector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>
              <a:buClrTx/>
            </a:pPr>
            <a:r>
              <a:rPr lang="en-GB" sz="7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SCHEDULE</a:t>
            </a: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B833B307-C807-084E-0EAE-B144A5D617EE}"/>
              </a:ext>
            </a:extLst>
          </p:cNvPr>
          <p:cNvCxnSpPr>
            <a:cxnSpLocks/>
          </p:cNvCxnSpPr>
          <p:nvPr/>
        </p:nvCxnSpPr>
        <p:spPr>
          <a:xfrm>
            <a:off x="5693693" y="2244088"/>
            <a:ext cx="2265451" cy="12700"/>
          </a:xfrm>
          <a:prstGeom prst="bentConnector3">
            <a:avLst>
              <a:gd name="adj1" fmla="val 50000"/>
            </a:avLst>
          </a:prstGeom>
          <a:ln w="57150">
            <a:solidFill>
              <a:srgbClr val="FF0000"/>
            </a:solidFill>
            <a:headEnd type="triangle"/>
            <a:tailEnd type="triangle"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>
            <a:extLst>
              <a:ext uri="{FF2B5EF4-FFF2-40B4-BE49-F238E27FC236}">
                <a16:creationId xmlns:a16="http://schemas.microsoft.com/office/drawing/2014/main" id="{7F70E5C1-ACBD-FD73-2E58-23D5368EBC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63244" y="2006621"/>
            <a:ext cx="1724282" cy="426803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6B98A51-7E5B-16B4-AD40-21543D2767AE}"/>
              </a:ext>
            </a:extLst>
          </p:cNvPr>
          <p:cNvSpPr/>
          <p:nvPr/>
        </p:nvSpPr>
        <p:spPr>
          <a:xfrm>
            <a:off x="3517048" y="2806826"/>
            <a:ext cx="699157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6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CAMPAIGN DATA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E738241-741A-57B3-81FF-E872101629D6}"/>
              </a:ext>
            </a:extLst>
          </p:cNvPr>
          <p:cNvSpPr/>
          <p:nvPr/>
        </p:nvSpPr>
        <p:spPr>
          <a:xfrm>
            <a:off x="4233174" y="2806826"/>
            <a:ext cx="365653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0" tIns="0" rIns="0" bIns="0" rtlCol="0" anchor="t"/>
          <a:lstStyle/>
          <a:p>
            <a:pPr algn="ctr">
              <a:buClrTx/>
            </a:pPr>
            <a:r>
              <a:rPr lang="en-GB" sz="6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 DATA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8D6F4D8-CB70-74D2-7F6E-9EB7E042CBFA}"/>
              </a:ext>
            </a:extLst>
          </p:cNvPr>
          <p:cNvSpPr/>
          <p:nvPr/>
        </p:nvSpPr>
        <p:spPr>
          <a:xfrm>
            <a:off x="4612163" y="2813201"/>
            <a:ext cx="365653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0" tIns="0" rIns="0" bIns="0" rtlCol="0" anchor="t"/>
          <a:lstStyle/>
          <a:p>
            <a:pPr algn="ctr">
              <a:buClrTx/>
            </a:pPr>
            <a:r>
              <a:rPr lang="en-GB" sz="600">
                <a:solidFill>
                  <a:prstClr val="black"/>
                </a:solidFill>
                <a:latin typeface="Calibri" panose="020F0502020204030204"/>
              </a:rPr>
              <a:t>EVENT DAT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B70586D-37DC-3750-1B94-15A2BD7E9ADE}"/>
              </a:ext>
            </a:extLst>
          </p:cNvPr>
          <p:cNvSpPr/>
          <p:nvPr/>
        </p:nvSpPr>
        <p:spPr>
          <a:xfrm>
            <a:off x="4991152" y="2806826"/>
            <a:ext cx="586025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SYS DATA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E5F7565-334C-520E-84DD-E4A586F75875}"/>
              </a:ext>
            </a:extLst>
          </p:cNvPr>
          <p:cNvSpPr/>
          <p:nvPr/>
        </p:nvSpPr>
        <p:spPr>
          <a:xfrm>
            <a:off x="3517048" y="2579571"/>
            <a:ext cx="699157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36000" tIns="36000" rIns="36000" bIns="36000" rtlCol="0" anchor="ctr"/>
          <a:lstStyle/>
          <a:p>
            <a:pPr algn="ctr">
              <a:buClrTx/>
            </a:pPr>
            <a:r>
              <a:rPr lang="en-GB" sz="8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CAMPAIGN ID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36C4629-F04A-527F-247F-066D20541B39}"/>
              </a:ext>
            </a:extLst>
          </p:cNvPr>
          <p:cNvSpPr/>
          <p:nvPr/>
        </p:nvSpPr>
        <p:spPr>
          <a:xfrm>
            <a:off x="4233174" y="2575918"/>
            <a:ext cx="365653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0" tIns="36000" rIns="0" bIns="36000" rtlCol="0" anchor="t"/>
          <a:lstStyle/>
          <a:p>
            <a:pPr algn="ctr">
              <a:buClrTx/>
            </a:pPr>
            <a:r>
              <a:rPr lang="en-GB" sz="6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 ID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605A654-12D3-E391-C288-9C30519DBE42}"/>
              </a:ext>
            </a:extLst>
          </p:cNvPr>
          <p:cNvSpPr/>
          <p:nvPr/>
        </p:nvSpPr>
        <p:spPr>
          <a:xfrm>
            <a:off x="4612163" y="2582293"/>
            <a:ext cx="365653" cy="20037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lIns="0" tIns="36000" rIns="0" bIns="36000" rtlCol="0" anchor="t"/>
          <a:lstStyle/>
          <a:p>
            <a:pPr algn="ctr">
              <a:buClrTx/>
            </a:pPr>
            <a:r>
              <a:rPr lang="en-GB" sz="6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EVENT ID</a:t>
            </a:r>
          </a:p>
        </p:txBody>
      </p:sp>
      <p:pic>
        <p:nvPicPr>
          <p:cNvPr id="25" name="Picture 24" descr="A blue and black logo&#10;&#10;Description automatically generated">
            <a:extLst>
              <a:ext uri="{FF2B5EF4-FFF2-40B4-BE49-F238E27FC236}">
                <a16:creationId xmlns:a16="http://schemas.microsoft.com/office/drawing/2014/main" id="{5A1A23FF-9C50-4D9F-1587-783B8C0C6C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3046" y="3827872"/>
            <a:ext cx="2044675" cy="2044675"/>
          </a:xfrm>
          <a:prstGeom prst="rect">
            <a:avLst/>
          </a:prstGeom>
        </p:spPr>
      </p:pic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2D987F6E-4EA0-348C-C2C4-DE8FCB8DC994}"/>
              </a:ext>
            </a:extLst>
          </p:cNvPr>
          <p:cNvCxnSpPr>
            <a:cxnSpLocks/>
            <a:stCxn id="21" idx="2"/>
          </p:cNvCxnSpPr>
          <p:nvPr/>
        </p:nvCxnSpPr>
        <p:spPr>
          <a:xfrm rot="16200000" flipH="1">
            <a:off x="8271267" y="3765884"/>
            <a:ext cx="1318184" cy="9948"/>
          </a:xfrm>
          <a:prstGeom prst="bentConnector3">
            <a:avLst>
              <a:gd name="adj1" fmla="val 50000"/>
            </a:avLst>
          </a:prstGeom>
          <a:ln w="57150">
            <a:solidFill>
              <a:srgbClr val="0070C0"/>
            </a:solidFill>
            <a:headEnd type="triangle"/>
            <a:tailEnd type="none"/>
          </a:ln>
          <a:effectLst>
            <a:glow rad="63500">
              <a:srgbClr val="0070C0">
                <a:alpha val="40000"/>
              </a:srgb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25419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indefinite"/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indefinite"/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indefinite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indefinite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indefinite"/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2" dur="indefinite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indefinite"/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5" dur="indefinite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indefinite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8" dur="indefinite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indefinite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1" dur="indefinite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indefinite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4" dur="indefinite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indefinite"/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indefinite"/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indefinite"/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indefinite"/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indefinite"/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indefinite"/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indefinite"/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5" dur="indefinite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indefinite"/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8" dur="indefinite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indefinite"/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61" dur="indefinite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000"/>
                            </p:stCondLst>
                            <p:childTnLst>
                              <p:par>
                                <p:cTn id="70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7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500"/>
                            </p:stCondLst>
                            <p:childTnLst>
                              <p:par>
                                <p:cTn id="7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0"/>
                            </p:stCondLst>
                            <p:childTnLst>
                              <p:par>
                                <p:cTn id="78" presetID="22" presetClass="exit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7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2500"/>
                            </p:stCondLst>
                            <p:childTnLst>
                              <p:par>
                                <p:cTn id="82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3000"/>
                            </p:stCondLst>
                            <p:childTnLst>
                              <p:par>
                                <p:cTn id="8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3500"/>
                            </p:stCondLst>
                            <p:childTnLst>
                              <p:par>
                                <p:cTn id="9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4000"/>
                            </p:stCondLst>
                            <p:childTnLst>
                              <p:par>
                                <p:cTn id="94" presetID="2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9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4500"/>
                            </p:stCondLst>
                            <p:childTnLst>
                              <p:par>
                                <p:cTn id="9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5000"/>
                            </p:stCondLst>
                            <p:childTnLst>
                              <p:par>
                                <p:cTn id="102" presetID="2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0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5500"/>
                            </p:stCondLst>
                            <p:childTnLst>
                              <p:par>
                                <p:cTn id="10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84" grpId="0" animBg="1"/>
      <p:bldP spid="85" grpId="0" animBg="1"/>
      <p:bldP spid="114" grpId="0"/>
      <p:bldP spid="115" grpId="0"/>
      <p:bldP spid="116" grpId="0"/>
      <p:bldP spid="117" grpId="0"/>
      <p:bldP spid="13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236FE-BC09-289A-DB6E-84AB3E6D2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 Black"/>
              </a:rPr>
              <a:t>KEY FEATURES</a:t>
            </a:r>
            <a:endParaRPr lang="en-US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B4857DDE-8510-E866-65F9-57C5B8C15A3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94436947"/>
              </p:ext>
            </p:extLst>
          </p:nvPr>
        </p:nvGraphicFramePr>
        <p:xfrm>
          <a:off x="532207" y="952500"/>
          <a:ext cx="11353798" cy="532991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977760">
                  <a:extLst>
                    <a:ext uri="{9D8B030D-6E8A-4147-A177-3AD203B41FA5}">
                      <a16:colId xmlns:a16="http://schemas.microsoft.com/office/drawing/2014/main" val="2866868650"/>
                    </a:ext>
                  </a:extLst>
                </a:gridCol>
                <a:gridCol w="4457933">
                  <a:extLst>
                    <a:ext uri="{9D8B030D-6E8A-4147-A177-3AD203B41FA5}">
                      <a16:colId xmlns:a16="http://schemas.microsoft.com/office/drawing/2014/main" val="882366149"/>
                    </a:ext>
                  </a:extLst>
                </a:gridCol>
                <a:gridCol w="3918105">
                  <a:extLst>
                    <a:ext uri="{9D8B030D-6E8A-4147-A177-3AD203B41FA5}">
                      <a16:colId xmlns:a16="http://schemas.microsoft.com/office/drawing/2014/main" val="2330520285"/>
                    </a:ext>
                  </a:extLst>
                </a:gridCol>
              </a:tblGrid>
              <a:tr h="343508">
                <a:tc>
                  <a:txBody>
                    <a:bodyPr/>
                    <a:lstStyle/>
                    <a:p>
                      <a:pPr algn="r" rtl="0" fontAlgn="base"/>
                      <a:r>
                        <a:rPr lang="en-US" sz="1400" b="1" dirty="0">
                          <a:effectLst/>
                        </a:rPr>
                        <a:t>FEATURE</a:t>
                      </a:r>
                      <a:r>
                        <a:rPr lang="en-US" sz="1400" b="0" dirty="0">
                          <a:effectLst/>
                        </a:rPr>
                        <a:t> </a:t>
                      </a:r>
                      <a:endParaRPr lang="en-US" sz="1400" b="0" i="0" dirty="0"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00" b="1">
                          <a:effectLst/>
                        </a:rPr>
                        <a:t>BENEFIT</a:t>
                      </a:r>
                      <a:r>
                        <a:rPr lang="en-US" sz="1400" b="0">
                          <a:effectLst/>
                        </a:rPr>
                        <a:t> </a:t>
                      </a:r>
                      <a:endParaRPr lang="en-US" sz="1400" b="0" i="0"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00" b="1">
                          <a:effectLst/>
                        </a:rPr>
                        <a:t>PAIN SOLVED</a:t>
                      </a:r>
                      <a:r>
                        <a:rPr lang="en-US" sz="1400" b="0">
                          <a:effectLst/>
                        </a:rPr>
                        <a:t> </a:t>
                      </a:r>
                      <a:endParaRPr lang="en-US" sz="1400" b="0" i="0"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1392197"/>
                  </a:ext>
                </a:extLst>
              </a:tr>
              <a:tr h="515261">
                <a:tc>
                  <a:txBody>
                    <a:bodyPr/>
                    <a:lstStyle/>
                    <a:p>
                      <a:pPr lvl="0" algn="l" rtl="0" fontAlgn="base"/>
                      <a:r>
                        <a:rPr lang="en-US" sz="1200" b="1" dirty="0">
                          <a:effectLst/>
                        </a:rPr>
                        <a:t>Unified </a:t>
                      </a:r>
                      <a:r>
                        <a:rPr lang="en-US" sz="1200" b="1">
                          <a:effectLst/>
                        </a:rPr>
                        <a:t>Experience Platform </a:t>
                      </a:r>
                      <a:r>
                        <a:rPr lang="en-US" sz="1200" b="1" dirty="0">
                          <a:effectLst/>
                        </a:rPr>
                        <a:t>(UXP) </a:t>
                      </a:r>
                      <a:endParaRPr lang="en-US" sz="1200" b="1" i="0" dirty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>
                          <a:effectLst/>
                        </a:rPr>
                        <a:t>Centralized management of activation data </a:t>
                      </a:r>
                      <a:endParaRPr lang="en-US" sz="1200" b="0" i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>
                          <a:effectLst/>
                        </a:rPr>
                        <a:t>Scattered and disorganized data across multiple systems </a:t>
                      </a:r>
                      <a:endParaRPr lang="en-US" sz="1200" b="0" i="0">
                        <a:effectLst/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0103732"/>
                  </a:ext>
                </a:extLst>
              </a:tr>
              <a:tr h="491517">
                <a:tc>
                  <a:txBody>
                    <a:bodyPr/>
                    <a:lstStyle/>
                    <a:p>
                      <a:pPr lvl="0" algn="l" rtl="0" fontAlgn="base"/>
                      <a:r>
                        <a:rPr lang="en-US" sz="1200" b="1" dirty="0">
                          <a:effectLst/>
                        </a:rPr>
                        <a:t>Master Program ID &amp; Event ID </a:t>
                      </a:r>
                      <a:endParaRPr lang="en-US" sz="1200" b="1" i="0" dirty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>
                          <a:effectLst/>
                        </a:rPr>
                        <a:t>Unique identifiers for each campaign and event </a:t>
                      </a:r>
                      <a:endParaRPr lang="en-US" sz="1200" b="0" i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>
                          <a:effectLst/>
                        </a:rPr>
                        <a:t>Difficulty in tracking and managing events </a:t>
                      </a:r>
                      <a:endParaRPr lang="en-US" sz="1200" b="0" i="0">
                        <a:effectLst/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7689761"/>
                  </a:ext>
                </a:extLst>
              </a:tr>
              <a:tr h="491517">
                <a:tc>
                  <a:txBody>
                    <a:bodyPr/>
                    <a:lstStyle/>
                    <a:p>
                      <a:pPr lvl="0" algn="l" rtl="0" fontAlgn="base"/>
                      <a:r>
                        <a:rPr lang="en-US" sz="1200" b="1" dirty="0">
                          <a:effectLst/>
                        </a:rPr>
                        <a:t>API Integration </a:t>
                      </a:r>
                      <a:endParaRPr lang="en-US" sz="1200" b="1" i="0" dirty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>
                          <a:effectLst/>
                        </a:rPr>
                        <a:t>Seamless communication with field management systems </a:t>
                      </a:r>
                      <a:endParaRPr lang="en-US" sz="1200" b="0" i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>
                          <a:effectLst/>
                        </a:rPr>
                        <a:t>Manual data transfer and synchronization </a:t>
                      </a:r>
                      <a:endParaRPr lang="en-US" sz="1200" b="0" i="0">
                        <a:effectLst/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7860197"/>
                  </a:ext>
                </a:extLst>
              </a:tr>
              <a:tr h="491517">
                <a:tc>
                  <a:txBody>
                    <a:bodyPr/>
                    <a:lstStyle/>
                    <a:p>
                      <a:pPr lvl="0" algn="l" rtl="0" fontAlgn="base"/>
                      <a:r>
                        <a:rPr lang="en-US" sz="1200" b="1" dirty="0">
                          <a:effectLst/>
                        </a:rPr>
                        <a:t>Unified Database </a:t>
                      </a:r>
                      <a:endParaRPr lang="en-US" sz="1200" b="1" i="0" dirty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>
                          <a:effectLst/>
                        </a:rPr>
                        <a:t>Consolidated data storage </a:t>
                      </a:r>
                      <a:endParaRPr lang="en-US" sz="1200" b="0" i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>
                          <a:effectLst/>
                        </a:rPr>
                        <a:t>Redundancy and inconsistency in data storage </a:t>
                      </a:r>
                      <a:endParaRPr lang="en-US" sz="1200" b="0" i="0">
                        <a:effectLst/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0254737"/>
                  </a:ext>
                </a:extLst>
              </a:tr>
              <a:tr h="491517">
                <a:tc>
                  <a:txBody>
                    <a:bodyPr/>
                    <a:lstStyle/>
                    <a:p>
                      <a:pPr lvl="0" algn="l" rtl="0" fontAlgn="base"/>
                      <a:r>
                        <a:rPr lang="en-US" sz="1200" b="1" dirty="0">
                          <a:effectLst/>
                        </a:rPr>
                        <a:t>Calendar View </a:t>
                      </a:r>
                      <a:endParaRPr lang="en-US" sz="1200" b="1" i="0" dirty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dirty="0">
                          <a:effectLst/>
                        </a:rPr>
                        <a:t>Easy visualization of scheduled events </a:t>
                      </a:r>
                      <a:endParaRPr lang="en-US" sz="1200" b="0" i="0" dirty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dirty="0">
                          <a:effectLst/>
                        </a:rPr>
                        <a:t>Inefficient event planning and tracking </a:t>
                      </a:r>
                      <a:endParaRPr lang="en-US" sz="1200" b="0" i="0" dirty="0">
                        <a:effectLst/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2822574"/>
                  </a:ext>
                </a:extLst>
              </a:tr>
              <a:tr h="491517">
                <a:tc>
                  <a:txBody>
                    <a:bodyPr/>
                    <a:lstStyle/>
                    <a:p>
                      <a:pPr lvl="0" algn="l" rtl="0" fontAlgn="base"/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uitive User Interface &amp; User Journeys</a:t>
                      </a:r>
                      <a:r>
                        <a:rPr lang="en-US" sz="1200" b="1" i="0" dirty="0">
                          <a:effectLst/>
                          <a:latin typeface="Calibri"/>
                        </a:rPr>
                        <a:t>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/>
                      <a:r>
                        <a:rPr lang="en-GB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eamlined navigation and workflows tailored to different user roles and actions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/>
                      <a:r>
                        <a:rPr lang="en-GB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line and fragmented user experiences that lead to redundancy and inefficiencies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1978413"/>
                  </a:ext>
                </a:extLst>
              </a:tr>
              <a:tr h="491517">
                <a:tc>
                  <a:txBody>
                    <a:bodyPr/>
                    <a:lstStyle/>
                    <a:p>
                      <a:pPr lvl="0" algn="l" rtl="0" fontAlgn="base"/>
                      <a:r>
                        <a:rPr lang="en-US" sz="1200" b="1" dirty="0">
                          <a:effectLst/>
                        </a:rPr>
                        <a:t>Client Power BI Dashboards </a:t>
                      </a:r>
                      <a:endParaRPr lang="en-US" sz="1200" b="1" i="0" dirty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>
                          <a:effectLst/>
                        </a:rPr>
                        <a:t>Customizable data visualization for clients </a:t>
                      </a:r>
                      <a:endParaRPr lang="en-US" sz="1200" b="0" i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dirty="0">
                          <a:effectLst/>
                        </a:rPr>
                        <a:t>Limited client access to data and insights </a:t>
                      </a:r>
                      <a:endParaRPr lang="en-US" sz="1200" b="0" i="0" dirty="0">
                        <a:effectLst/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686213"/>
                  </a:ext>
                </a:extLst>
              </a:tr>
              <a:tr h="515261">
                <a:tc>
                  <a:txBody>
                    <a:bodyPr/>
                    <a:lstStyle/>
                    <a:p>
                      <a:pPr lvl="0" algn="l" rtl="0" fontAlgn="base"/>
                      <a:r>
                        <a:rPr lang="en-US" sz="1200" b="1" dirty="0">
                          <a:effectLst/>
                        </a:rPr>
                        <a:t>Synchronization Between Systems </a:t>
                      </a:r>
                      <a:endParaRPr lang="en-US" sz="1200" b="1" i="0" dirty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>
                          <a:effectLst/>
                        </a:rPr>
                        <a:t>Real-time data updates across UXP and field management systems </a:t>
                      </a:r>
                      <a:endParaRPr lang="en-US" sz="1200" b="0" i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>
                          <a:effectLst/>
                        </a:rPr>
                        <a:t>Inconsistent data between systems </a:t>
                      </a:r>
                      <a:endParaRPr lang="en-US" sz="1200" b="0" i="0">
                        <a:effectLst/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5625794"/>
                  </a:ext>
                </a:extLst>
              </a:tr>
              <a:tr h="491517">
                <a:tc>
                  <a:txBody>
                    <a:bodyPr/>
                    <a:lstStyle/>
                    <a:p>
                      <a:pPr lvl="0" algn="l" rtl="0" fontAlgn="base"/>
                      <a:r>
                        <a:rPr lang="en-US" sz="1200" b="1" dirty="0">
                          <a:effectLst/>
                        </a:rPr>
                        <a:t>Permissions &amp; Access Control </a:t>
                      </a:r>
                      <a:endParaRPr lang="en-US" sz="1200" b="1" i="0" dirty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>
                          <a:effectLst/>
                        </a:rPr>
                        <a:t>Per client team</a:t>
                      </a:r>
                      <a:endParaRPr lang="en-US" sz="1200" b="0" i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>
                          <a:effectLst/>
                        </a:rPr>
                        <a:t>Partitioning clients depending on accounts</a:t>
                      </a:r>
                      <a:endParaRPr lang="en-US" sz="1200" b="0" i="0">
                        <a:effectLst/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5002962"/>
                  </a:ext>
                </a:extLst>
              </a:tr>
              <a:tr h="515261">
                <a:tc>
                  <a:txBody>
                    <a:bodyPr/>
                    <a:lstStyle/>
                    <a:p>
                      <a:pPr lvl="0" algn="l" rtl="0" fontAlgn="base"/>
                      <a:r>
                        <a:rPr lang="en-US" sz="1200" b="1" dirty="0">
                          <a:effectLst/>
                        </a:rPr>
                        <a:t>Input And Update Data In Both Systems </a:t>
                      </a:r>
                      <a:endParaRPr lang="en-US" sz="1200" b="1" i="0" dirty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dirty="0">
                          <a:effectLst/>
                        </a:rPr>
                        <a:t>Flexibility in managing activation and event wrap data </a:t>
                      </a:r>
                      <a:endParaRPr lang="en-US" sz="1200" b="0" i="0" dirty="0">
                        <a:effectLst/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dirty="0">
                          <a:effectLst/>
                        </a:rPr>
                        <a:t>Inflexible data management process </a:t>
                      </a:r>
                      <a:endParaRPr lang="en-US" sz="1200" b="0" i="0" dirty="0">
                        <a:effectLst/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7268555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37A2D-A72C-791E-CE8B-538C48C124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7395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557EEF6-07E1-F7EA-3779-6A6EDEECC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39" y="381307"/>
            <a:ext cx="11353800" cy="5859916"/>
          </a:xfrm>
        </p:spPr>
        <p:txBody>
          <a:bodyPr/>
          <a:lstStyle/>
          <a:p>
            <a:r>
              <a:rPr lang="en-GB">
                <a:latin typeface="Arial Black"/>
              </a:rPr>
              <a:t>POWER PLATFORM </a:t>
            </a:r>
            <a:br>
              <a:rPr lang="en-GB">
                <a:latin typeface="Arial Black"/>
              </a:rPr>
            </a:br>
            <a:r>
              <a:rPr lang="en-GB">
                <a:latin typeface="Arial Black"/>
              </a:rPr>
              <a:t>PROOF OF CONCEPT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1C845B-4AD0-6BF3-7663-7F7C3ECC8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1793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0F4816B-3BD8-2F2B-6C32-0918E7763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>
                <a:latin typeface="Poppins Black" panose="00000A00000000000000" pitchFamily="2" charset="0"/>
                <a:ea typeface="+mj-ea"/>
                <a:cs typeface="Poppins Black" panose="00000A00000000000000" pitchFamily="2" charset="0"/>
              </a:rPr>
              <a:t>CAMPAIGNS &amp; EVENTS</a:t>
            </a:r>
            <a:endParaRPr lang="en-GB" b="0">
              <a:latin typeface="Poppins Black" panose="00000A00000000000000" pitchFamily="2" charset="0"/>
              <a:cs typeface="Poppins Black" panose="00000A00000000000000" pitchFamily="2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B62BED-791E-4A24-DA8A-C3589AA182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633869"/>
            <a:ext cx="5365012" cy="3590261"/>
          </a:xfrm>
        </p:spPr>
        <p:txBody>
          <a:bodyPr>
            <a:normAutofit/>
          </a:bodyPr>
          <a:lstStyle/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Create, edit, delete Events</a:t>
            </a:r>
          </a:p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Display Event data</a:t>
            </a:r>
          </a:p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Create an intelligible campaign ID</a:t>
            </a:r>
          </a:p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Sorting search returns based on criteria: </a:t>
            </a:r>
            <a:b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ID, Name, Status, </a:t>
            </a:r>
            <a:r>
              <a:rPr lang="en-US" sz="1400" b="0" i="0" err="1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etc</a:t>
            </a:r>
            <a:endParaRPr lang="en-US" sz="1400" b="0" i="0">
              <a:solidFill>
                <a:srgbClr val="000000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Pagination</a:t>
            </a:r>
          </a:p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Retrieve AD data for event originator/assignee</a:t>
            </a:r>
          </a:p>
          <a:p>
            <a:pPr marL="342900" marR="0" lvl="0" indent="-342900" algn="l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b="0" i="0">
                <a:solidFill>
                  <a:srgbClr val="000000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Display map data and standardized addr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45154-86A6-2500-5336-3B5C0A469E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84F3BAF6-A528-AFFC-9DF9-A3711F9E63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5999" y="833845"/>
            <a:ext cx="5365975" cy="2854891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F9EA3355-BBE7-355C-9874-D9D923DFD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5037" y="2784172"/>
            <a:ext cx="5365974" cy="28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959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0F4816B-3BD8-2F2B-6C32-0918E7763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>
                <a:latin typeface="Poppins Black" panose="00000A00000000000000" pitchFamily="2" charset="0"/>
                <a:ea typeface="+mj-ea"/>
                <a:cs typeface="Poppins Black" panose="00000A00000000000000" pitchFamily="2" charset="0"/>
              </a:rPr>
              <a:t>CAMPAIGNS &amp; EVENTS</a:t>
            </a:r>
            <a:endParaRPr lang="en-GB" b="0">
              <a:latin typeface="Poppins Black" panose="00000A00000000000000" pitchFamily="2" charset="0"/>
              <a:cs typeface="Poppins Black" panose="00000A00000000000000" pitchFamily="2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B62BED-791E-4A24-DA8A-C3589AA182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633869"/>
            <a:ext cx="5365012" cy="3590261"/>
          </a:xfrm>
        </p:spPr>
        <p:txBody>
          <a:bodyPr>
            <a:normAutofit/>
          </a:bodyPr>
          <a:lstStyle/>
          <a:p>
            <a:pPr marL="0" indent="0" algn="l" rtl="0" eaLnBrk="1" fontAlgn="t" latinLnBrk="0" hangingPunct="1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0" u="none" strike="noStrike" kern="1200">
                <a:solidFill>
                  <a:srgbClr val="FFFFFF"/>
                </a:solidFill>
                <a:effectLst/>
                <a:latin typeface="Poppins" panose="00000500000000000000" pitchFamily="2" charset="0"/>
              </a:rPr>
              <a:t>TURES</a:t>
            </a:r>
            <a:endParaRPr lang="en-GB" sz="1200" b="0" i="0" u="none" strike="noStrike">
              <a:effectLst/>
              <a:latin typeface="Arial" panose="020B0604020202020204" pitchFamily="34" charset="0"/>
            </a:endParaRPr>
          </a:p>
          <a:p>
            <a:pPr marL="342900" indent="-342900" fontAlgn="base">
              <a:lnSpc>
                <a:spcPct val="100000"/>
              </a:lnSpc>
            </a:pPr>
            <a:r>
              <a:rPr lang="en-US"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eme variations stored at user-level permissions</a:t>
            </a:r>
            <a:endParaRPr lang="en-GB" sz="140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fontAlgn="base">
              <a:lnSpc>
                <a:spcPct val="100000"/>
              </a:lnSpc>
            </a:pPr>
            <a:r>
              <a:rPr lang="en-US"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is can include read/write permissions or view only permissions</a:t>
            </a:r>
            <a:endParaRPr lang="en-GB" sz="140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fontAlgn="base">
              <a:lnSpc>
                <a:spcPct val="100000"/>
              </a:lnSpc>
            </a:pPr>
            <a:r>
              <a:rPr lang="en-US"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figurable by:</a:t>
            </a:r>
            <a:endParaRPr lang="en-GB" sz="140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fontAlgn="base">
              <a:lnSpc>
                <a:spcPct val="100000"/>
              </a:lnSpc>
            </a:pPr>
            <a:r>
              <a:rPr lang="en-US"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lient</a:t>
            </a:r>
            <a:endParaRPr lang="en-GB" sz="140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fontAlgn="base">
              <a:lnSpc>
                <a:spcPct val="100000"/>
              </a:lnSpc>
            </a:pPr>
            <a:r>
              <a:rPr lang="en-US"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ser</a:t>
            </a:r>
            <a:endParaRPr lang="en-GB" sz="140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fontAlgn="base">
              <a:lnSpc>
                <a:spcPct val="100000"/>
              </a:lnSpc>
            </a:pPr>
            <a:r>
              <a:rPr lang="en-US" sz="140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eam</a:t>
            </a:r>
            <a:endParaRPr lang="en-GB" sz="140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45154-86A6-2500-5336-3B5C0A469E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A76EB1C5-BADA-97DC-FE8A-714925AFB86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5613" y="1633869"/>
            <a:ext cx="6044387" cy="3213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1766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557EEF6-07E1-F7EA-3779-6A6EDEECC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39" y="381307"/>
            <a:ext cx="11353800" cy="5859916"/>
          </a:xfrm>
        </p:spPr>
        <p:txBody>
          <a:bodyPr/>
          <a:lstStyle/>
          <a:p>
            <a:r>
              <a:rPr lang="en-GB">
                <a:latin typeface="Arial Black"/>
              </a:rPr>
              <a:t>OUR GOALS / WHY UXP? 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1C845B-4AD0-6BF3-7663-7F7C3ECC8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1844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B1578D3-1471-D737-306E-429340987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>
                <a:latin typeface="Arial Black"/>
              </a:rPr>
              <a:t>OUR GOALS / WHY </a:t>
            </a:r>
            <a:r>
              <a:rPr lang="en-GB">
                <a:latin typeface="Arial Black"/>
              </a:rPr>
              <a:t>UXP</a:t>
            </a:r>
            <a:r>
              <a:rPr lang="en-GB" sz="2800">
                <a:latin typeface="Arial Black"/>
              </a:rPr>
              <a:t>?</a:t>
            </a:r>
            <a:r>
              <a:rPr lang="en-GB">
                <a:latin typeface="Arial Black"/>
              </a:rPr>
              <a:t> 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D3328E-29BB-1893-2DBC-0AA85E6EF4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8" name="Oval 81">
            <a:extLst>
              <a:ext uri="{FF2B5EF4-FFF2-40B4-BE49-F238E27FC236}">
                <a16:creationId xmlns:a16="http://schemas.microsoft.com/office/drawing/2014/main" id="{30FA63A7-AF4D-E95C-0AAB-39F0F3E47590}"/>
              </a:ext>
            </a:extLst>
          </p:cNvPr>
          <p:cNvSpPr/>
          <p:nvPr/>
        </p:nvSpPr>
        <p:spPr>
          <a:xfrm>
            <a:off x="905453" y="1185938"/>
            <a:ext cx="3086008" cy="5176761"/>
          </a:xfrm>
          <a:prstGeom prst="roundRect">
            <a:avLst>
              <a:gd name="adj" fmla="val 654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9" name="Oval 81">
            <a:extLst>
              <a:ext uri="{FF2B5EF4-FFF2-40B4-BE49-F238E27FC236}">
                <a16:creationId xmlns:a16="http://schemas.microsoft.com/office/drawing/2014/main" id="{61C9D4E8-D005-A993-6D37-8C694D8B8B66}"/>
              </a:ext>
            </a:extLst>
          </p:cNvPr>
          <p:cNvSpPr/>
          <p:nvPr/>
        </p:nvSpPr>
        <p:spPr>
          <a:xfrm>
            <a:off x="4552996" y="1185938"/>
            <a:ext cx="3086008" cy="5176761"/>
          </a:xfrm>
          <a:prstGeom prst="roundRect">
            <a:avLst>
              <a:gd name="adj" fmla="val 804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10" name="Oval 81">
            <a:extLst>
              <a:ext uri="{FF2B5EF4-FFF2-40B4-BE49-F238E27FC236}">
                <a16:creationId xmlns:a16="http://schemas.microsoft.com/office/drawing/2014/main" id="{8FE273E0-47A9-F419-5DD9-BDAA148FA6EF}"/>
              </a:ext>
            </a:extLst>
          </p:cNvPr>
          <p:cNvSpPr/>
          <p:nvPr/>
        </p:nvSpPr>
        <p:spPr>
          <a:xfrm>
            <a:off x="8200539" y="1185938"/>
            <a:ext cx="3086008" cy="5176761"/>
          </a:xfrm>
          <a:prstGeom prst="roundRect">
            <a:avLst>
              <a:gd name="adj" fmla="val 691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AEC4F9-A202-E6AC-3E85-3D98AB6732C5}"/>
              </a:ext>
            </a:extLst>
          </p:cNvPr>
          <p:cNvSpPr txBox="1"/>
          <p:nvPr/>
        </p:nvSpPr>
        <p:spPr>
          <a:xfrm>
            <a:off x="1649292" y="5957566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spc="300">
                <a:solidFill>
                  <a:schemeClr val="tx1">
                    <a:alpha val="84000"/>
                  </a:schemeClr>
                </a:solidFill>
                <a:latin typeface="+mj-lt"/>
              </a:rPr>
              <a:t>PRODUC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8E0C64-C0BE-BF81-1701-2AB611F1EECF}"/>
              </a:ext>
            </a:extLst>
          </p:cNvPr>
          <p:cNvSpPr txBox="1"/>
          <p:nvPr/>
        </p:nvSpPr>
        <p:spPr>
          <a:xfrm>
            <a:off x="5729362" y="5957566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spc="300">
                <a:solidFill>
                  <a:schemeClr val="tx1">
                    <a:alpha val="84000"/>
                  </a:schemeClr>
                </a:solidFill>
                <a:latin typeface="+mj-lt"/>
              </a:rPr>
              <a:t>AI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29F60C-3C95-5FC0-8131-B48F0742DFD3}"/>
              </a:ext>
            </a:extLst>
          </p:cNvPr>
          <p:cNvSpPr txBox="1"/>
          <p:nvPr/>
        </p:nvSpPr>
        <p:spPr>
          <a:xfrm>
            <a:off x="8977928" y="5957566"/>
            <a:ext cx="1544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spc="300">
                <a:solidFill>
                  <a:schemeClr val="tx1">
                    <a:alpha val="84000"/>
                  </a:schemeClr>
                </a:solidFill>
                <a:latin typeface="+mj-lt"/>
              </a:rPr>
              <a:t>EXECUT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7B76271-96C2-CB58-68FE-BD984606E0A0}"/>
              </a:ext>
            </a:extLst>
          </p:cNvPr>
          <p:cNvSpPr txBox="1"/>
          <p:nvPr/>
        </p:nvSpPr>
        <p:spPr>
          <a:xfrm>
            <a:off x="992951" y="2262869"/>
            <a:ext cx="2896048" cy="19276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050">
                <a:latin typeface="Poppins" panose="00000500000000000000" pitchFamily="2" charset="0"/>
                <a:ea typeface="Open Sans"/>
                <a:cs typeface="Poppins" panose="00000500000000000000" pitchFamily="2" charset="0"/>
              </a:rPr>
              <a:t>Momentum will implement a unified data solution that integrates data from disparate sources into a single view, providing accurate answers to critical questions. </a:t>
            </a:r>
          </a:p>
          <a:p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A standardized and repeatable process </a:t>
            </a: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is required 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for scheduling and </a:t>
            </a: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recording activation data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.</a:t>
            </a:r>
            <a:endParaRPr lang="en-GB" sz="105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en-GB" sz="1050">
              <a:latin typeface="Poppins" panose="00000500000000000000" pitchFamily="2" charset="0"/>
              <a:ea typeface="Open Sans" panose="020B0606030504020204" pitchFamily="34" charset="0"/>
              <a:cs typeface="Poppins" panose="00000500000000000000" pitchFamily="2" charset="0"/>
            </a:endParaRPr>
          </a:p>
          <a:p>
            <a:pPr>
              <a:lnSpc>
                <a:spcPct val="150000"/>
              </a:lnSpc>
            </a:pPr>
            <a:endParaRPr lang="en-GB" sz="1050">
              <a:latin typeface="Poppins" panose="00000500000000000000" pitchFamily="2" charset="0"/>
              <a:ea typeface="Open Sans" panose="020B0606030504020204" pitchFamily="34" charset="0"/>
              <a:cs typeface="Poppins" panose="00000500000000000000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18025A8-33B1-A4CF-5D82-DA9F22B57883}"/>
              </a:ext>
            </a:extLst>
          </p:cNvPr>
          <p:cNvSpPr txBox="1"/>
          <p:nvPr/>
        </p:nvSpPr>
        <p:spPr>
          <a:xfrm>
            <a:off x="4673167" y="2262869"/>
            <a:ext cx="2799710" cy="267765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Create an application that will be to source of the truth for all activations within momentum. </a:t>
            </a:r>
          </a:p>
          <a:p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Create a database that creates and stores all GUIDS and UIDs for both Campaigns and Events. </a:t>
            </a:r>
          </a:p>
          <a:p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r>
              <a:rPr lang="en-GB" sz="1050">
                <a:latin typeface="Poppins"/>
                <a:ea typeface="+mn-lt"/>
                <a:cs typeface="Poppins"/>
              </a:rPr>
              <a:t>UXP technology will: </a:t>
            </a:r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pPr marL="171450" indent="-171450">
              <a:buFontTx/>
              <a:buChar char="-"/>
            </a:pP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Streamline data collection.</a:t>
            </a:r>
          </a:p>
          <a:p>
            <a:pPr marL="171450" indent="-171450">
              <a:buFontTx/>
              <a:buChar char="-"/>
            </a:pP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Provide a centralized location.</a:t>
            </a:r>
          </a:p>
          <a:p>
            <a:pPr marL="171450" indent="-171450">
              <a:buFontTx/>
              <a:buChar char="-"/>
            </a:pP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Create a standard method when joining to 3</a:t>
            </a:r>
            <a:r>
              <a:rPr lang="en-GB" sz="1050" baseline="3000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rd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 Party</a:t>
            </a:r>
          </a:p>
          <a:p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 </a:t>
            </a:r>
            <a:br>
              <a:rPr lang="en-GB" sz="1050">
                <a:latin typeface="Poppins" panose="00000500000000000000" pitchFamily="2" charset="0"/>
                <a:ea typeface="Open Sans" panose="020B0606030504020204" pitchFamily="34" charset="0"/>
                <a:cs typeface="Poppins" panose="00000500000000000000" pitchFamily="2" charset="0"/>
              </a:rPr>
            </a:br>
            <a:endParaRPr lang="en-GB" sz="1050">
              <a:latin typeface="Poppins" panose="00000500000000000000" pitchFamily="2" charset="0"/>
              <a:ea typeface="Open Sans" panose="020B0606030504020204" pitchFamily="34" charset="0"/>
              <a:cs typeface="Poppins" panose="00000500000000000000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7C2A1D-F4F6-EC39-4E6D-3D2520B72FF7}"/>
              </a:ext>
            </a:extLst>
          </p:cNvPr>
          <p:cNvSpPr/>
          <p:nvPr/>
        </p:nvSpPr>
        <p:spPr>
          <a:xfrm>
            <a:off x="905453" y="1333559"/>
            <a:ext cx="3086008" cy="477456"/>
          </a:xfrm>
          <a:prstGeom prst="rect">
            <a:avLst/>
          </a:prstGeom>
          <a:solidFill>
            <a:srgbClr val="EB2A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</a:rPr>
              <a:t>VISION</a:t>
            </a:r>
          </a:p>
        </p:txBody>
      </p:sp>
      <p:sp>
        <p:nvSpPr>
          <p:cNvPr id="17" name="Oval 81">
            <a:extLst>
              <a:ext uri="{FF2B5EF4-FFF2-40B4-BE49-F238E27FC236}">
                <a16:creationId xmlns:a16="http://schemas.microsoft.com/office/drawing/2014/main" id="{8ECD7179-033F-7F59-6587-B2D22497A2FB}"/>
              </a:ext>
            </a:extLst>
          </p:cNvPr>
          <p:cNvSpPr/>
          <p:nvPr/>
        </p:nvSpPr>
        <p:spPr>
          <a:xfrm rot="966133">
            <a:off x="633661" y="1077313"/>
            <a:ext cx="971499" cy="989949"/>
          </a:xfrm>
          <a:custGeom>
            <a:avLst/>
            <a:gdLst>
              <a:gd name="connsiteX0" fmla="*/ 0 w 1181100"/>
              <a:gd name="connsiteY0" fmla="*/ 590550 h 1181100"/>
              <a:gd name="connsiteX1" fmla="*/ 590550 w 1181100"/>
              <a:gd name="connsiteY1" fmla="*/ 0 h 1181100"/>
              <a:gd name="connsiteX2" fmla="*/ 1181100 w 1181100"/>
              <a:gd name="connsiteY2" fmla="*/ 590550 h 1181100"/>
              <a:gd name="connsiteX3" fmla="*/ 590550 w 1181100"/>
              <a:gd name="connsiteY3" fmla="*/ 1181100 h 1181100"/>
              <a:gd name="connsiteX4" fmla="*/ 0 w 1181100"/>
              <a:gd name="connsiteY4" fmla="*/ 590550 h 118110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55700"/>
              <a:gd name="connsiteY0" fmla="*/ 591194 h 1182521"/>
              <a:gd name="connsiteX1" fmla="*/ 590550 w 1155700"/>
              <a:gd name="connsiteY1" fmla="*/ 644 h 1182521"/>
              <a:gd name="connsiteX2" fmla="*/ 1155700 w 1155700"/>
              <a:gd name="connsiteY2" fmla="*/ 686444 h 1182521"/>
              <a:gd name="connsiteX3" fmla="*/ 590550 w 1155700"/>
              <a:gd name="connsiteY3" fmla="*/ 1181744 h 1182521"/>
              <a:gd name="connsiteX4" fmla="*/ 0 w 1155700"/>
              <a:gd name="connsiteY4" fmla="*/ 591194 h 1182521"/>
              <a:gd name="connsiteX0" fmla="*/ 0 w 1155700"/>
              <a:gd name="connsiteY0" fmla="*/ 591194 h 1182660"/>
              <a:gd name="connsiteX1" fmla="*/ 590550 w 1155700"/>
              <a:gd name="connsiteY1" fmla="*/ 644 h 1182660"/>
              <a:gd name="connsiteX2" fmla="*/ 1155700 w 1155700"/>
              <a:gd name="connsiteY2" fmla="*/ 686444 h 1182660"/>
              <a:gd name="connsiteX3" fmla="*/ 590550 w 1155700"/>
              <a:gd name="connsiteY3" fmla="*/ 1181744 h 1182660"/>
              <a:gd name="connsiteX4" fmla="*/ 0 w 1155700"/>
              <a:gd name="connsiteY4" fmla="*/ 591194 h 1182660"/>
              <a:gd name="connsiteX0" fmla="*/ 0 w 1155700"/>
              <a:gd name="connsiteY0" fmla="*/ 590742 h 1181519"/>
              <a:gd name="connsiteX1" fmla="*/ 590550 w 1155700"/>
              <a:gd name="connsiteY1" fmla="*/ 192 h 1181519"/>
              <a:gd name="connsiteX2" fmla="*/ 1155700 w 1155700"/>
              <a:gd name="connsiteY2" fmla="*/ 641542 h 1181519"/>
              <a:gd name="connsiteX3" fmla="*/ 590550 w 1155700"/>
              <a:gd name="connsiteY3" fmla="*/ 1181292 h 1181519"/>
              <a:gd name="connsiteX4" fmla="*/ 0 w 1155700"/>
              <a:gd name="connsiteY4" fmla="*/ 590742 h 1181519"/>
              <a:gd name="connsiteX0" fmla="*/ 0 w 1193800"/>
              <a:gd name="connsiteY0" fmla="*/ 590742 h 1181519"/>
              <a:gd name="connsiteX1" fmla="*/ 628650 w 1193800"/>
              <a:gd name="connsiteY1" fmla="*/ 192 h 1181519"/>
              <a:gd name="connsiteX2" fmla="*/ 1193800 w 1193800"/>
              <a:gd name="connsiteY2" fmla="*/ 641542 h 1181519"/>
              <a:gd name="connsiteX3" fmla="*/ 628650 w 1193800"/>
              <a:gd name="connsiteY3" fmla="*/ 1181292 h 1181519"/>
              <a:gd name="connsiteX4" fmla="*/ 0 w 1193800"/>
              <a:gd name="connsiteY4" fmla="*/ 590742 h 1181519"/>
              <a:gd name="connsiteX0" fmla="*/ 103 w 1193903"/>
              <a:gd name="connsiteY0" fmla="*/ 622423 h 1213200"/>
              <a:gd name="connsiteX1" fmla="*/ 584303 w 1193903"/>
              <a:gd name="connsiteY1" fmla="*/ 123 h 1213200"/>
              <a:gd name="connsiteX2" fmla="*/ 1193903 w 1193903"/>
              <a:gd name="connsiteY2" fmla="*/ 673223 h 1213200"/>
              <a:gd name="connsiteX3" fmla="*/ 628753 w 1193903"/>
              <a:gd name="connsiteY3" fmla="*/ 1212973 h 1213200"/>
              <a:gd name="connsiteX4" fmla="*/ 103 w 1193903"/>
              <a:gd name="connsiteY4" fmla="*/ 622423 h 1213200"/>
              <a:gd name="connsiteX0" fmla="*/ 103 w 1193903"/>
              <a:gd name="connsiteY0" fmla="*/ 622423 h 1216728"/>
              <a:gd name="connsiteX1" fmla="*/ 584303 w 1193903"/>
              <a:gd name="connsiteY1" fmla="*/ 123 h 1216728"/>
              <a:gd name="connsiteX2" fmla="*/ 1193903 w 1193903"/>
              <a:gd name="connsiteY2" fmla="*/ 673223 h 1216728"/>
              <a:gd name="connsiteX3" fmla="*/ 628753 w 1193903"/>
              <a:gd name="connsiteY3" fmla="*/ 1212973 h 1216728"/>
              <a:gd name="connsiteX4" fmla="*/ 103 w 1193903"/>
              <a:gd name="connsiteY4" fmla="*/ 622423 h 1216728"/>
              <a:gd name="connsiteX0" fmla="*/ 250 w 1194050"/>
              <a:gd name="connsiteY0" fmla="*/ 622423 h 1216728"/>
              <a:gd name="connsiteX1" fmla="*/ 584450 w 1194050"/>
              <a:gd name="connsiteY1" fmla="*/ 123 h 1216728"/>
              <a:gd name="connsiteX2" fmla="*/ 1194050 w 1194050"/>
              <a:gd name="connsiteY2" fmla="*/ 673223 h 1216728"/>
              <a:gd name="connsiteX3" fmla="*/ 654300 w 1194050"/>
              <a:gd name="connsiteY3" fmla="*/ 1212973 h 1216728"/>
              <a:gd name="connsiteX4" fmla="*/ 250 w 1194050"/>
              <a:gd name="connsiteY4" fmla="*/ 622423 h 1216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050" h="1216728">
                <a:moveTo>
                  <a:pt x="250" y="622423"/>
                </a:moveTo>
                <a:cubicBezTo>
                  <a:pt x="-11392" y="420281"/>
                  <a:pt x="385483" y="-8344"/>
                  <a:pt x="584450" y="123"/>
                </a:cubicBezTo>
                <a:cubicBezTo>
                  <a:pt x="783417" y="8590"/>
                  <a:pt x="1194050" y="347071"/>
                  <a:pt x="1194050" y="673223"/>
                </a:cubicBezTo>
                <a:cubicBezTo>
                  <a:pt x="1086100" y="993025"/>
                  <a:pt x="853267" y="1164290"/>
                  <a:pt x="654300" y="1212973"/>
                </a:cubicBezTo>
                <a:cubicBezTo>
                  <a:pt x="455333" y="1261656"/>
                  <a:pt x="11892" y="824565"/>
                  <a:pt x="250" y="6224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921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041B052-7987-CBCE-4585-FFE3A4BFD523}"/>
              </a:ext>
            </a:extLst>
          </p:cNvPr>
          <p:cNvSpPr txBox="1"/>
          <p:nvPr/>
        </p:nvSpPr>
        <p:spPr>
          <a:xfrm>
            <a:off x="756971" y="1433788"/>
            <a:ext cx="7248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spc="3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WHAT</a:t>
            </a:r>
          </a:p>
        </p:txBody>
      </p:sp>
      <p:sp>
        <p:nvSpPr>
          <p:cNvPr id="19" name="Oval 81">
            <a:extLst>
              <a:ext uri="{FF2B5EF4-FFF2-40B4-BE49-F238E27FC236}">
                <a16:creationId xmlns:a16="http://schemas.microsoft.com/office/drawing/2014/main" id="{DCBCBB77-6A08-E4B6-01EB-8844E2A63C67}"/>
              </a:ext>
            </a:extLst>
          </p:cNvPr>
          <p:cNvSpPr/>
          <p:nvPr/>
        </p:nvSpPr>
        <p:spPr>
          <a:xfrm rot="966133">
            <a:off x="539875" y="1043930"/>
            <a:ext cx="971499" cy="989949"/>
          </a:xfrm>
          <a:custGeom>
            <a:avLst/>
            <a:gdLst>
              <a:gd name="connsiteX0" fmla="*/ 0 w 1181100"/>
              <a:gd name="connsiteY0" fmla="*/ 590550 h 1181100"/>
              <a:gd name="connsiteX1" fmla="*/ 590550 w 1181100"/>
              <a:gd name="connsiteY1" fmla="*/ 0 h 1181100"/>
              <a:gd name="connsiteX2" fmla="*/ 1181100 w 1181100"/>
              <a:gd name="connsiteY2" fmla="*/ 590550 h 1181100"/>
              <a:gd name="connsiteX3" fmla="*/ 590550 w 1181100"/>
              <a:gd name="connsiteY3" fmla="*/ 1181100 h 1181100"/>
              <a:gd name="connsiteX4" fmla="*/ 0 w 1181100"/>
              <a:gd name="connsiteY4" fmla="*/ 590550 h 118110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55700"/>
              <a:gd name="connsiteY0" fmla="*/ 591194 h 1182521"/>
              <a:gd name="connsiteX1" fmla="*/ 590550 w 1155700"/>
              <a:gd name="connsiteY1" fmla="*/ 644 h 1182521"/>
              <a:gd name="connsiteX2" fmla="*/ 1155700 w 1155700"/>
              <a:gd name="connsiteY2" fmla="*/ 686444 h 1182521"/>
              <a:gd name="connsiteX3" fmla="*/ 590550 w 1155700"/>
              <a:gd name="connsiteY3" fmla="*/ 1181744 h 1182521"/>
              <a:gd name="connsiteX4" fmla="*/ 0 w 1155700"/>
              <a:gd name="connsiteY4" fmla="*/ 591194 h 1182521"/>
              <a:gd name="connsiteX0" fmla="*/ 0 w 1155700"/>
              <a:gd name="connsiteY0" fmla="*/ 591194 h 1182660"/>
              <a:gd name="connsiteX1" fmla="*/ 590550 w 1155700"/>
              <a:gd name="connsiteY1" fmla="*/ 644 h 1182660"/>
              <a:gd name="connsiteX2" fmla="*/ 1155700 w 1155700"/>
              <a:gd name="connsiteY2" fmla="*/ 686444 h 1182660"/>
              <a:gd name="connsiteX3" fmla="*/ 590550 w 1155700"/>
              <a:gd name="connsiteY3" fmla="*/ 1181744 h 1182660"/>
              <a:gd name="connsiteX4" fmla="*/ 0 w 1155700"/>
              <a:gd name="connsiteY4" fmla="*/ 591194 h 1182660"/>
              <a:gd name="connsiteX0" fmla="*/ 0 w 1155700"/>
              <a:gd name="connsiteY0" fmla="*/ 590742 h 1181519"/>
              <a:gd name="connsiteX1" fmla="*/ 590550 w 1155700"/>
              <a:gd name="connsiteY1" fmla="*/ 192 h 1181519"/>
              <a:gd name="connsiteX2" fmla="*/ 1155700 w 1155700"/>
              <a:gd name="connsiteY2" fmla="*/ 641542 h 1181519"/>
              <a:gd name="connsiteX3" fmla="*/ 590550 w 1155700"/>
              <a:gd name="connsiteY3" fmla="*/ 1181292 h 1181519"/>
              <a:gd name="connsiteX4" fmla="*/ 0 w 1155700"/>
              <a:gd name="connsiteY4" fmla="*/ 590742 h 1181519"/>
              <a:gd name="connsiteX0" fmla="*/ 0 w 1193800"/>
              <a:gd name="connsiteY0" fmla="*/ 590742 h 1181519"/>
              <a:gd name="connsiteX1" fmla="*/ 628650 w 1193800"/>
              <a:gd name="connsiteY1" fmla="*/ 192 h 1181519"/>
              <a:gd name="connsiteX2" fmla="*/ 1193800 w 1193800"/>
              <a:gd name="connsiteY2" fmla="*/ 641542 h 1181519"/>
              <a:gd name="connsiteX3" fmla="*/ 628650 w 1193800"/>
              <a:gd name="connsiteY3" fmla="*/ 1181292 h 1181519"/>
              <a:gd name="connsiteX4" fmla="*/ 0 w 1193800"/>
              <a:gd name="connsiteY4" fmla="*/ 590742 h 1181519"/>
              <a:gd name="connsiteX0" fmla="*/ 103 w 1193903"/>
              <a:gd name="connsiteY0" fmla="*/ 622423 h 1213200"/>
              <a:gd name="connsiteX1" fmla="*/ 584303 w 1193903"/>
              <a:gd name="connsiteY1" fmla="*/ 123 h 1213200"/>
              <a:gd name="connsiteX2" fmla="*/ 1193903 w 1193903"/>
              <a:gd name="connsiteY2" fmla="*/ 673223 h 1213200"/>
              <a:gd name="connsiteX3" fmla="*/ 628753 w 1193903"/>
              <a:gd name="connsiteY3" fmla="*/ 1212973 h 1213200"/>
              <a:gd name="connsiteX4" fmla="*/ 103 w 1193903"/>
              <a:gd name="connsiteY4" fmla="*/ 622423 h 1213200"/>
              <a:gd name="connsiteX0" fmla="*/ 103 w 1193903"/>
              <a:gd name="connsiteY0" fmla="*/ 622423 h 1216728"/>
              <a:gd name="connsiteX1" fmla="*/ 584303 w 1193903"/>
              <a:gd name="connsiteY1" fmla="*/ 123 h 1216728"/>
              <a:gd name="connsiteX2" fmla="*/ 1193903 w 1193903"/>
              <a:gd name="connsiteY2" fmla="*/ 673223 h 1216728"/>
              <a:gd name="connsiteX3" fmla="*/ 628753 w 1193903"/>
              <a:gd name="connsiteY3" fmla="*/ 1212973 h 1216728"/>
              <a:gd name="connsiteX4" fmla="*/ 103 w 1193903"/>
              <a:gd name="connsiteY4" fmla="*/ 622423 h 1216728"/>
              <a:gd name="connsiteX0" fmla="*/ 250 w 1194050"/>
              <a:gd name="connsiteY0" fmla="*/ 622423 h 1216728"/>
              <a:gd name="connsiteX1" fmla="*/ 584450 w 1194050"/>
              <a:gd name="connsiteY1" fmla="*/ 123 h 1216728"/>
              <a:gd name="connsiteX2" fmla="*/ 1194050 w 1194050"/>
              <a:gd name="connsiteY2" fmla="*/ 673223 h 1216728"/>
              <a:gd name="connsiteX3" fmla="*/ 654300 w 1194050"/>
              <a:gd name="connsiteY3" fmla="*/ 1212973 h 1216728"/>
              <a:gd name="connsiteX4" fmla="*/ 250 w 1194050"/>
              <a:gd name="connsiteY4" fmla="*/ 622423 h 1216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050" h="1216728">
                <a:moveTo>
                  <a:pt x="250" y="622423"/>
                </a:moveTo>
                <a:cubicBezTo>
                  <a:pt x="-11392" y="420281"/>
                  <a:pt x="385483" y="-8344"/>
                  <a:pt x="584450" y="123"/>
                </a:cubicBezTo>
                <a:cubicBezTo>
                  <a:pt x="783417" y="8590"/>
                  <a:pt x="1194050" y="347071"/>
                  <a:pt x="1194050" y="673223"/>
                </a:cubicBezTo>
                <a:cubicBezTo>
                  <a:pt x="1086100" y="993025"/>
                  <a:pt x="853267" y="1164290"/>
                  <a:pt x="654300" y="1212973"/>
                </a:cubicBezTo>
                <a:cubicBezTo>
                  <a:pt x="455333" y="1261656"/>
                  <a:pt x="11892" y="824565"/>
                  <a:pt x="250" y="622423"/>
                </a:cubicBezTo>
                <a:close/>
              </a:path>
            </a:pathLst>
          </a:custGeom>
          <a:noFill/>
          <a:ln w="31750">
            <a:solidFill>
              <a:schemeClr val="accent4"/>
            </a:solidFill>
          </a:ln>
          <a:effectLst>
            <a:outerShdw blurRad="2921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FFC2FB-7971-C4C2-890D-AF7BBBF7387E}"/>
              </a:ext>
            </a:extLst>
          </p:cNvPr>
          <p:cNvSpPr/>
          <p:nvPr/>
        </p:nvSpPr>
        <p:spPr>
          <a:xfrm>
            <a:off x="4962306" y="1342062"/>
            <a:ext cx="2676697" cy="4774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</a:rPr>
              <a:t>BUSINESS STRATEGY</a:t>
            </a:r>
          </a:p>
        </p:txBody>
      </p:sp>
      <p:sp>
        <p:nvSpPr>
          <p:cNvPr id="21" name="Oval 81">
            <a:extLst>
              <a:ext uri="{FF2B5EF4-FFF2-40B4-BE49-F238E27FC236}">
                <a16:creationId xmlns:a16="http://schemas.microsoft.com/office/drawing/2014/main" id="{3EF84728-2B10-7AA7-A9F2-8B3052582056}"/>
              </a:ext>
            </a:extLst>
          </p:cNvPr>
          <p:cNvSpPr/>
          <p:nvPr/>
        </p:nvSpPr>
        <p:spPr>
          <a:xfrm rot="966133">
            <a:off x="4281204" y="1085816"/>
            <a:ext cx="971499" cy="989949"/>
          </a:xfrm>
          <a:custGeom>
            <a:avLst/>
            <a:gdLst>
              <a:gd name="connsiteX0" fmla="*/ 0 w 1181100"/>
              <a:gd name="connsiteY0" fmla="*/ 590550 h 1181100"/>
              <a:gd name="connsiteX1" fmla="*/ 590550 w 1181100"/>
              <a:gd name="connsiteY1" fmla="*/ 0 h 1181100"/>
              <a:gd name="connsiteX2" fmla="*/ 1181100 w 1181100"/>
              <a:gd name="connsiteY2" fmla="*/ 590550 h 1181100"/>
              <a:gd name="connsiteX3" fmla="*/ 590550 w 1181100"/>
              <a:gd name="connsiteY3" fmla="*/ 1181100 h 1181100"/>
              <a:gd name="connsiteX4" fmla="*/ 0 w 1181100"/>
              <a:gd name="connsiteY4" fmla="*/ 590550 h 118110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55700"/>
              <a:gd name="connsiteY0" fmla="*/ 591194 h 1182521"/>
              <a:gd name="connsiteX1" fmla="*/ 590550 w 1155700"/>
              <a:gd name="connsiteY1" fmla="*/ 644 h 1182521"/>
              <a:gd name="connsiteX2" fmla="*/ 1155700 w 1155700"/>
              <a:gd name="connsiteY2" fmla="*/ 686444 h 1182521"/>
              <a:gd name="connsiteX3" fmla="*/ 590550 w 1155700"/>
              <a:gd name="connsiteY3" fmla="*/ 1181744 h 1182521"/>
              <a:gd name="connsiteX4" fmla="*/ 0 w 1155700"/>
              <a:gd name="connsiteY4" fmla="*/ 591194 h 1182521"/>
              <a:gd name="connsiteX0" fmla="*/ 0 w 1155700"/>
              <a:gd name="connsiteY0" fmla="*/ 591194 h 1182660"/>
              <a:gd name="connsiteX1" fmla="*/ 590550 w 1155700"/>
              <a:gd name="connsiteY1" fmla="*/ 644 h 1182660"/>
              <a:gd name="connsiteX2" fmla="*/ 1155700 w 1155700"/>
              <a:gd name="connsiteY2" fmla="*/ 686444 h 1182660"/>
              <a:gd name="connsiteX3" fmla="*/ 590550 w 1155700"/>
              <a:gd name="connsiteY3" fmla="*/ 1181744 h 1182660"/>
              <a:gd name="connsiteX4" fmla="*/ 0 w 1155700"/>
              <a:gd name="connsiteY4" fmla="*/ 591194 h 1182660"/>
              <a:gd name="connsiteX0" fmla="*/ 0 w 1155700"/>
              <a:gd name="connsiteY0" fmla="*/ 590742 h 1181519"/>
              <a:gd name="connsiteX1" fmla="*/ 590550 w 1155700"/>
              <a:gd name="connsiteY1" fmla="*/ 192 h 1181519"/>
              <a:gd name="connsiteX2" fmla="*/ 1155700 w 1155700"/>
              <a:gd name="connsiteY2" fmla="*/ 641542 h 1181519"/>
              <a:gd name="connsiteX3" fmla="*/ 590550 w 1155700"/>
              <a:gd name="connsiteY3" fmla="*/ 1181292 h 1181519"/>
              <a:gd name="connsiteX4" fmla="*/ 0 w 1155700"/>
              <a:gd name="connsiteY4" fmla="*/ 590742 h 1181519"/>
              <a:gd name="connsiteX0" fmla="*/ 0 w 1193800"/>
              <a:gd name="connsiteY0" fmla="*/ 590742 h 1181519"/>
              <a:gd name="connsiteX1" fmla="*/ 628650 w 1193800"/>
              <a:gd name="connsiteY1" fmla="*/ 192 h 1181519"/>
              <a:gd name="connsiteX2" fmla="*/ 1193800 w 1193800"/>
              <a:gd name="connsiteY2" fmla="*/ 641542 h 1181519"/>
              <a:gd name="connsiteX3" fmla="*/ 628650 w 1193800"/>
              <a:gd name="connsiteY3" fmla="*/ 1181292 h 1181519"/>
              <a:gd name="connsiteX4" fmla="*/ 0 w 1193800"/>
              <a:gd name="connsiteY4" fmla="*/ 590742 h 1181519"/>
              <a:gd name="connsiteX0" fmla="*/ 103 w 1193903"/>
              <a:gd name="connsiteY0" fmla="*/ 622423 h 1213200"/>
              <a:gd name="connsiteX1" fmla="*/ 584303 w 1193903"/>
              <a:gd name="connsiteY1" fmla="*/ 123 h 1213200"/>
              <a:gd name="connsiteX2" fmla="*/ 1193903 w 1193903"/>
              <a:gd name="connsiteY2" fmla="*/ 673223 h 1213200"/>
              <a:gd name="connsiteX3" fmla="*/ 628753 w 1193903"/>
              <a:gd name="connsiteY3" fmla="*/ 1212973 h 1213200"/>
              <a:gd name="connsiteX4" fmla="*/ 103 w 1193903"/>
              <a:gd name="connsiteY4" fmla="*/ 622423 h 1213200"/>
              <a:gd name="connsiteX0" fmla="*/ 103 w 1193903"/>
              <a:gd name="connsiteY0" fmla="*/ 622423 h 1216728"/>
              <a:gd name="connsiteX1" fmla="*/ 584303 w 1193903"/>
              <a:gd name="connsiteY1" fmla="*/ 123 h 1216728"/>
              <a:gd name="connsiteX2" fmla="*/ 1193903 w 1193903"/>
              <a:gd name="connsiteY2" fmla="*/ 673223 h 1216728"/>
              <a:gd name="connsiteX3" fmla="*/ 628753 w 1193903"/>
              <a:gd name="connsiteY3" fmla="*/ 1212973 h 1216728"/>
              <a:gd name="connsiteX4" fmla="*/ 103 w 1193903"/>
              <a:gd name="connsiteY4" fmla="*/ 622423 h 1216728"/>
              <a:gd name="connsiteX0" fmla="*/ 250 w 1194050"/>
              <a:gd name="connsiteY0" fmla="*/ 622423 h 1216728"/>
              <a:gd name="connsiteX1" fmla="*/ 584450 w 1194050"/>
              <a:gd name="connsiteY1" fmla="*/ 123 h 1216728"/>
              <a:gd name="connsiteX2" fmla="*/ 1194050 w 1194050"/>
              <a:gd name="connsiteY2" fmla="*/ 673223 h 1216728"/>
              <a:gd name="connsiteX3" fmla="*/ 654300 w 1194050"/>
              <a:gd name="connsiteY3" fmla="*/ 1212973 h 1216728"/>
              <a:gd name="connsiteX4" fmla="*/ 250 w 1194050"/>
              <a:gd name="connsiteY4" fmla="*/ 622423 h 1216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050" h="1216728">
                <a:moveTo>
                  <a:pt x="250" y="622423"/>
                </a:moveTo>
                <a:cubicBezTo>
                  <a:pt x="-11392" y="420281"/>
                  <a:pt x="385483" y="-8344"/>
                  <a:pt x="584450" y="123"/>
                </a:cubicBezTo>
                <a:cubicBezTo>
                  <a:pt x="783417" y="8590"/>
                  <a:pt x="1194050" y="347071"/>
                  <a:pt x="1194050" y="673223"/>
                </a:cubicBezTo>
                <a:cubicBezTo>
                  <a:pt x="1086100" y="993025"/>
                  <a:pt x="853267" y="1164290"/>
                  <a:pt x="654300" y="1212973"/>
                </a:cubicBezTo>
                <a:cubicBezTo>
                  <a:pt x="455333" y="1261656"/>
                  <a:pt x="11892" y="824565"/>
                  <a:pt x="250" y="6224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921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03C49BB-377D-368C-1577-EBE9FCE0A050}"/>
              </a:ext>
            </a:extLst>
          </p:cNvPr>
          <p:cNvSpPr txBox="1"/>
          <p:nvPr/>
        </p:nvSpPr>
        <p:spPr>
          <a:xfrm>
            <a:off x="4467031" y="1442291"/>
            <a:ext cx="5998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spc="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WHY</a:t>
            </a:r>
          </a:p>
        </p:txBody>
      </p:sp>
      <p:sp>
        <p:nvSpPr>
          <p:cNvPr id="23" name="Oval 81">
            <a:extLst>
              <a:ext uri="{FF2B5EF4-FFF2-40B4-BE49-F238E27FC236}">
                <a16:creationId xmlns:a16="http://schemas.microsoft.com/office/drawing/2014/main" id="{492C9C3F-E7A0-9264-ECB4-A01CD8A664C7}"/>
              </a:ext>
            </a:extLst>
          </p:cNvPr>
          <p:cNvSpPr/>
          <p:nvPr/>
        </p:nvSpPr>
        <p:spPr>
          <a:xfrm rot="966133">
            <a:off x="4187418" y="1052433"/>
            <a:ext cx="971499" cy="989949"/>
          </a:xfrm>
          <a:custGeom>
            <a:avLst/>
            <a:gdLst>
              <a:gd name="connsiteX0" fmla="*/ 0 w 1181100"/>
              <a:gd name="connsiteY0" fmla="*/ 590550 h 1181100"/>
              <a:gd name="connsiteX1" fmla="*/ 590550 w 1181100"/>
              <a:gd name="connsiteY1" fmla="*/ 0 h 1181100"/>
              <a:gd name="connsiteX2" fmla="*/ 1181100 w 1181100"/>
              <a:gd name="connsiteY2" fmla="*/ 590550 h 1181100"/>
              <a:gd name="connsiteX3" fmla="*/ 590550 w 1181100"/>
              <a:gd name="connsiteY3" fmla="*/ 1181100 h 1181100"/>
              <a:gd name="connsiteX4" fmla="*/ 0 w 1181100"/>
              <a:gd name="connsiteY4" fmla="*/ 590550 h 118110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55700"/>
              <a:gd name="connsiteY0" fmla="*/ 591194 h 1182521"/>
              <a:gd name="connsiteX1" fmla="*/ 590550 w 1155700"/>
              <a:gd name="connsiteY1" fmla="*/ 644 h 1182521"/>
              <a:gd name="connsiteX2" fmla="*/ 1155700 w 1155700"/>
              <a:gd name="connsiteY2" fmla="*/ 686444 h 1182521"/>
              <a:gd name="connsiteX3" fmla="*/ 590550 w 1155700"/>
              <a:gd name="connsiteY3" fmla="*/ 1181744 h 1182521"/>
              <a:gd name="connsiteX4" fmla="*/ 0 w 1155700"/>
              <a:gd name="connsiteY4" fmla="*/ 591194 h 1182521"/>
              <a:gd name="connsiteX0" fmla="*/ 0 w 1155700"/>
              <a:gd name="connsiteY0" fmla="*/ 591194 h 1182660"/>
              <a:gd name="connsiteX1" fmla="*/ 590550 w 1155700"/>
              <a:gd name="connsiteY1" fmla="*/ 644 h 1182660"/>
              <a:gd name="connsiteX2" fmla="*/ 1155700 w 1155700"/>
              <a:gd name="connsiteY2" fmla="*/ 686444 h 1182660"/>
              <a:gd name="connsiteX3" fmla="*/ 590550 w 1155700"/>
              <a:gd name="connsiteY3" fmla="*/ 1181744 h 1182660"/>
              <a:gd name="connsiteX4" fmla="*/ 0 w 1155700"/>
              <a:gd name="connsiteY4" fmla="*/ 591194 h 1182660"/>
              <a:gd name="connsiteX0" fmla="*/ 0 w 1155700"/>
              <a:gd name="connsiteY0" fmla="*/ 590742 h 1181519"/>
              <a:gd name="connsiteX1" fmla="*/ 590550 w 1155700"/>
              <a:gd name="connsiteY1" fmla="*/ 192 h 1181519"/>
              <a:gd name="connsiteX2" fmla="*/ 1155700 w 1155700"/>
              <a:gd name="connsiteY2" fmla="*/ 641542 h 1181519"/>
              <a:gd name="connsiteX3" fmla="*/ 590550 w 1155700"/>
              <a:gd name="connsiteY3" fmla="*/ 1181292 h 1181519"/>
              <a:gd name="connsiteX4" fmla="*/ 0 w 1155700"/>
              <a:gd name="connsiteY4" fmla="*/ 590742 h 1181519"/>
              <a:gd name="connsiteX0" fmla="*/ 0 w 1193800"/>
              <a:gd name="connsiteY0" fmla="*/ 590742 h 1181519"/>
              <a:gd name="connsiteX1" fmla="*/ 628650 w 1193800"/>
              <a:gd name="connsiteY1" fmla="*/ 192 h 1181519"/>
              <a:gd name="connsiteX2" fmla="*/ 1193800 w 1193800"/>
              <a:gd name="connsiteY2" fmla="*/ 641542 h 1181519"/>
              <a:gd name="connsiteX3" fmla="*/ 628650 w 1193800"/>
              <a:gd name="connsiteY3" fmla="*/ 1181292 h 1181519"/>
              <a:gd name="connsiteX4" fmla="*/ 0 w 1193800"/>
              <a:gd name="connsiteY4" fmla="*/ 590742 h 1181519"/>
              <a:gd name="connsiteX0" fmla="*/ 103 w 1193903"/>
              <a:gd name="connsiteY0" fmla="*/ 622423 h 1213200"/>
              <a:gd name="connsiteX1" fmla="*/ 584303 w 1193903"/>
              <a:gd name="connsiteY1" fmla="*/ 123 h 1213200"/>
              <a:gd name="connsiteX2" fmla="*/ 1193903 w 1193903"/>
              <a:gd name="connsiteY2" fmla="*/ 673223 h 1213200"/>
              <a:gd name="connsiteX3" fmla="*/ 628753 w 1193903"/>
              <a:gd name="connsiteY3" fmla="*/ 1212973 h 1213200"/>
              <a:gd name="connsiteX4" fmla="*/ 103 w 1193903"/>
              <a:gd name="connsiteY4" fmla="*/ 622423 h 1213200"/>
              <a:gd name="connsiteX0" fmla="*/ 103 w 1193903"/>
              <a:gd name="connsiteY0" fmla="*/ 622423 h 1216728"/>
              <a:gd name="connsiteX1" fmla="*/ 584303 w 1193903"/>
              <a:gd name="connsiteY1" fmla="*/ 123 h 1216728"/>
              <a:gd name="connsiteX2" fmla="*/ 1193903 w 1193903"/>
              <a:gd name="connsiteY2" fmla="*/ 673223 h 1216728"/>
              <a:gd name="connsiteX3" fmla="*/ 628753 w 1193903"/>
              <a:gd name="connsiteY3" fmla="*/ 1212973 h 1216728"/>
              <a:gd name="connsiteX4" fmla="*/ 103 w 1193903"/>
              <a:gd name="connsiteY4" fmla="*/ 622423 h 1216728"/>
              <a:gd name="connsiteX0" fmla="*/ 250 w 1194050"/>
              <a:gd name="connsiteY0" fmla="*/ 622423 h 1216728"/>
              <a:gd name="connsiteX1" fmla="*/ 584450 w 1194050"/>
              <a:gd name="connsiteY1" fmla="*/ 123 h 1216728"/>
              <a:gd name="connsiteX2" fmla="*/ 1194050 w 1194050"/>
              <a:gd name="connsiteY2" fmla="*/ 673223 h 1216728"/>
              <a:gd name="connsiteX3" fmla="*/ 654300 w 1194050"/>
              <a:gd name="connsiteY3" fmla="*/ 1212973 h 1216728"/>
              <a:gd name="connsiteX4" fmla="*/ 250 w 1194050"/>
              <a:gd name="connsiteY4" fmla="*/ 622423 h 1216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050" h="1216728">
                <a:moveTo>
                  <a:pt x="250" y="622423"/>
                </a:moveTo>
                <a:cubicBezTo>
                  <a:pt x="-11392" y="420281"/>
                  <a:pt x="385483" y="-8344"/>
                  <a:pt x="584450" y="123"/>
                </a:cubicBezTo>
                <a:cubicBezTo>
                  <a:pt x="783417" y="8590"/>
                  <a:pt x="1194050" y="347071"/>
                  <a:pt x="1194050" y="673223"/>
                </a:cubicBezTo>
                <a:cubicBezTo>
                  <a:pt x="1086100" y="993025"/>
                  <a:pt x="853267" y="1164290"/>
                  <a:pt x="654300" y="1212973"/>
                </a:cubicBezTo>
                <a:cubicBezTo>
                  <a:pt x="455333" y="1261656"/>
                  <a:pt x="11892" y="824565"/>
                  <a:pt x="250" y="622423"/>
                </a:cubicBezTo>
                <a:close/>
              </a:path>
            </a:pathLst>
          </a:custGeom>
          <a:noFill/>
          <a:ln w="31750">
            <a:solidFill>
              <a:schemeClr val="accent4"/>
            </a:solidFill>
          </a:ln>
          <a:effectLst>
            <a:outerShdw blurRad="2921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6B28138-5971-3D4C-5659-DD8458F02B87}"/>
              </a:ext>
            </a:extLst>
          </p:cNvPr>
          <p:cNvSpPr/>
          <p:nvPr/>
        </p:nvSpPr>
        <p:spPr>
          <a:xfrm>
            <a:off x="8200539" y="1342062"/>
            <a:ext cx="3086008" cy="4774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</a:rPr>
              <a:t>STEPS</a:t>
            </a:r>
          </a:p>
        </p:txBody>
      </p:sp>
      <p:sp>
        <p:nvSpPr>
          <p:cNvPr id="25" name="Oval 81">
            <a:extLst>
              <a:ext uri="{FF2B5EF4-FFF2-40B4-BE49-F238E27FC236}">
                <a16:creationId xmlns:a16="http://schemas.microsoft.com/office/drawing/2014/main" id="{A2C04300-6757-E064-536C-632B3EEC65AF}"/>
              </a:ext>
            </a:extLst>
          </p:cNvPr>
          <p:cNvSpPr/>
          <p:nvPr/>
        </p:nvSpPr>
        <p:spPr>
          <a:xfrm rot="966133">
            <a:off x="7928747" y="1085816"/>
            <a:ext cx="971499" cy="989949"/>
          </a:xfrm>
          <a:custGeom>
            <a:avLst/>
            <a:gdLst>
              <a:gd name="connsiteX0" fmla="*/ 0 w 1181100"/>
              <a:gd name="connsiteY0" fmla="*/ 590550 h 1181100"/>
              <a:gd name="connsiteX1" fmla="*/ 590550 w 1181100"/>
              <a:gd name="connsiteY1" fmla="*/ 0 h 1181100"/>
              <a:gd name="connsiteX2" fmla="*/ 1181100 w 1181100"/>
              <a:gd name="connsiteY2" fmla="*/ 590550 h 1181100"/>
              <a:gd name="connsiteX3" fmla="*/ 590550 w 1181100"/>
              <a:gd name="connsiteY3" fmla="*/ 1181100 h 1181100"/>
              <a:gd name="connsiteX4" fmla="*/ 0 w 1181100"/>
              <a:gd name="connsiteY4" fmla="*/ 590550 h 118110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55700"/>
              <a:gd name="connsiteY0" fmla="*/ 591194 h 1182521"/>
              <a:gd name="connsiteX1" fmla="*/ 590550 w 1155700"/>
              <a:gd name="connsiteY1" fmla="*/ 644 h 1182521"/>
              <a:gd name="connsiteX2" fmla="*/ 1155700 w 1155700"/>
              <a:gd name="connsiteY2" fmla="*/ 686444 h 1182521"/>
              <a:gd name="connsiteX3" fmla="*/ 590550 w 1155700"/>
              <a:gd name="connsiteY3" fmla="*/ 1181744 h 1182521"/>
              <a:gd name="connsiteX4" fmla="*/ 0 w 1155700"/>
              <a:gd name="connsiteY4" fmla="*/ 591194 h 1182521"/>
              <a:gd name="connsiteX0" fmla="*/ 0 w 1155700"/>
              <a:gd name="connsiteY0" fmla="*/ 591194 h 1182660"/>
              <a:gd name="connsiteX1" fmla="*/ 590550 w 1155700"/>
              <a:gd name="connsiteY1" fmla="*/ 644 h 1182660"/>
              <a:gd name="connsiteX2" fmla="*/ 1155700 w 1155700"/>
              <a:gd name="connsiteY2" fmla="*/ 686444 h 1182660"/>
              <a:gd name="connsiteX3" fmla="*/ 590550 w 1155700"/>
              <a:gd name="connsiteY3" fmla="*/ 1181744 h 1182660"/>
              <a:gd name="connsiteX4" fmla="*/ 0 w 1155700"/>
              <a:gd name="connsiteY4" fmla="*/ 591194 h 1182660"/>
              <a:gd name="connsiteX0" fmla="*/ 0 w 1155700"/>
              <a:gd name="connsiteY0" fmla="*/ 590742 h 1181519"/>
              <a:gd name="connsiteX1" fmla="*/ 590550 w 1155700"/>
              <a:gd name="connsiteY1" fmla="*/ 192 h 1181519"/>
              <a:gd name="connsiteX2" fmla="*/ 1155700 w 1155700"/>
              <a:gd name="connsiteY2" fmla="*/ 641542 h 1181519"/>
              <a:gd name="connsiteX3" fmla="*/ 590550 w 1155700"/>
              <a:gd name="connsiteY3" fmla="*/ 1181292 h 1181519"/>
              <a:gd name="connsiteX4" fmla="*/ 0 w 1155700"/>
              <a:gd name="connsiteY4" fmla="*/ 590742 h 1181519"/>
              <a:gd name="connsiteX0" fmla="*/ 0 w 1193800"/>
              <a:gd name="connsiteY0" fmla="*/ 590742 h 1181519"/>
              <a:gd name="connsiteX1" fmla="*/ 628650 w 1193800"/>
              <a:gd name="connsiteY1" fmla="*/ 192 h 1181519"/>
              <a:gd name="connsiteX2" fmla="*/ 1193800 w 1193800"/>
              <a:gd name="connsiteY2" fmla="*/ 641542 h 1181519"/>
              <a:gd name="connsiteX3" fmla="*/ 628650 w 1193800"/>
              <a:gd name="connsiteY3" fmla="*/ 1181292 h 1181519"/>
              <a:gd name="connsiteX4" fmla="*/ 0 w 1193800"/>
              <a:gd name="connsiteY4" fmla="*/ 590742 h 1181519"/>
              <a:gd name="connsiteX0" fmla="*/ 103 w 1193903"/>
              <a:gd name="connsiteY0" fmla="*/ 622423 h 1213200"/>
              <a:gd name="connsiteX1" fmla="*/ 584303 w 1193903"/>
              <a:gd name="connsiteY1" fmla="*/ 123 h 1213200"/>
              <a:gd name="connsiteX2" fmla="*/ 1193903 w 1193903"/>
              <a:gd name="connsiteY2" fmla="*/ 673223 h 1213200"/>
              <a:gd name="connsiteX3" fmla="*/ 628753 w 1193903"/>
              <a:gd name="connsiteY3" fmla="*/ 1212973 h 1213200"/>
              <a:gd name="connsiteX4" fmla="*/ 103 w 1193903"/>
              <a:gd name="connsiteY4" fmla="*/ 622423 h 1213200"/>
              <a:gd name="connsiteX0" fmla="*/ 103 w 1193903"/>
              <a:gd name="connsiteY0" fmla="*/ 622423 h 1216728"/>
              <a:gd name="connsiteX1" fmla="*/ 584303 w 1193903"/>
              <a:gd name="connsiteY1" fmla="*/ 123 h 1216728"/>
              <a:gd name="connsiteX2" fmla="*/ 1193903 w 1193903"/>
              <a:gd name="connsiteY2" fmla="*/ 673223 h 1216728"/>
              <a:gd name="connsiteX3" fmla="*/ 628753 w 1193903"/>
              <a:gd name="connsiteY3" fmla="*/ 1212973 h 1216728"/>
              <a:gd name="connsiteX4" fmla="*/ 103 w 1193903"/>
              <a:gd name="connsiteY4" fmla="*/ 622423 h 1216728"/>
              <a:gd name="connsiteX0" fmla="*/ 250 w 1194050"/>
              <a:gd name="connsiteY0" fmla="*/ 622423 h 1216728"/>
              <a:gd name="connsiteX1" fmla="*/ 584450 w 1194050"/>
              <a:gd name="connsiteY1" fmla="*/ 123 h 1216728"/>
              <a:gd name="connsiteX2" fmla="*/ 1194050 w 1194050"/>
              <a:gd name="connsiteY2" fmla="*/ 673223 h 1216728"/>
              <a:gd name="connsiteX3" fmla="*/ 654300 w 1194050"/>
              <a:gd name="connsiteY3" fmla="*/ 1212973 h 1216728"/>
              <a:gd name="connsiteX4" fmla="*/ 250 w 1194050"/>
              <a:gd name="connsiteY4" fmla="*/ 622423 h 1216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050" h="1216728">
                <a:moveTo>
                  <a:pt x="250" y="622423"/>
                </a:moveTo>
                <a:cubicBezTo>
                  <a:pt x="-11392" y="420281"/>
                  <a:pt x="385483" y="-8344"/>
                  <a:pt x="584450" y="123"/>
                </a:cubicBezTo>
                <a:cubicBezTo>
                  <a:pt x="783417" y="8590"/>
                  <a:pt x="1194050" y="347071"/>
                  <a:pt x="1194050" y="673223"/>
                </a:cubicBezTo>
                <a:cubicBezTo>
                  <a:pt x="1086100" y="993025"/>
                  <a:pt x="853267" y="1164290"/>
                  <a:pt x="654300" y="1212973"/>
                </a:cubicBezTo>
                <a:cubicBezTo>
                  <a:pt x="455333" y="1261656"/>
                  <a:pt x="11892" y="824565"/>
                  <a:pt x="250" y="6224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921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04FC197-07B0-7BE0-565F-7EFD1536B015}"/>
              </a:ext>
            </a:extLst>
          </p:cNvPr>
          <p:cNvSpPr txBox="1"/>
          <p:nvPr/>
        </p:nvSpPr>
        <p:spPr>
          <a:xfrm>
            <a:off x="8107361" y="1442291"/>
            <a:ext cx="6142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spc="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HOW</a:t>
            </a:r>
          </a:p>
        </p:txBody>
      </p:sp>
      <p:sp>
        <p:nvSpPr>
          <p:cNvPr id="27" name="Oval 81">
            <a:extLst>
              <a:ext uri="{FF2B5EF4-FFF2-40B4-BE49-F238E27FC236}">
                <a16:creationId xmlns:a16="http://schemas.microsoft.com/office/drawing/2014/main" id="{67C17DA0-6D89-6AFE-E6FA-B57D3FB273F2}"/>
              </a:ext>
            </a:extLst>
          </p:cNvPr>
          <p:cNvSpPr/>
          <p:nvPr/>
        </p:nvSpPr>
        <p:spPr>
          <a:xfrm rot="966133">
            <a:off x="7834961" y="1052433"/>
            <a:ext cx="971499" cy="989949"/>
          </a:xfrm>
          <a:custGeom>
            <a:avLst/>
            <a:gdLst>
              <a:gd name="connsiteX0" fmla="*/ 0 w 1181100"/>
              <a:gd name="connsiteY0" fmla="*/ 590550 h 1181100"/>
              <a:gd name="connsiteX1" fmla="*/ 590550 w 1181100"/>
              <a:gd name="connsiteY1" fmla="*/ 0 h 1181100"/>
              <a:gd name="connsiteX2" fmla="*/ 1181100 w 1181100"/>
              <a:gd name="connsiteY2" fmla="*/ 590550 h 1181100"/>
              <a:gd name="connsiteX3" fmla="*/ 590550 w 1181100"/>
              <a:gd name="connsiteY3" fmla="*/ 1181100 h 1181100"/>
              <a:gd name="connsiteX4" fmla="*/ 0 w 1181100"/>
              <a:gd name="connsiteY4" fmla="*/ 590550 h 118110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81100"/>
              <a:gd name="connsiteY0" fmla="*/ 599890 h 1190440"/>
              <a:gd name="connsiteX1" fmla="*/ 590550 w 1181100"/>
              <a:gd name="connsiteY1" fmla="*/ 9340 h 1190440"/>
              <a:gd name="connsiteX2" fmla="*/ 1181100 w 1181100"/>
              <a:gd name="connsiteY2" fmla="*/ 599890 h 1190440"/>
              <a:gd name="connsiteX3" fmla="*/ 590550 w 1181100"/>
              <a:gd name="connsiteY3" fmla="*/ 1190440 h 1190440"/>
              <a:gd name="connsiteX4" fmla="*/ 0 w 1181100"/>
              <a:gd name="connsiteY4" fmla="*/ 599890 h 1190440"/>
              <a:gd name="connsiteX0" fmla="*/ 0 w 1155700"/>
              <a:gd name="connsiteY0" fmla="*/ 591194 h 1182521"/>
              <a:gd name="connsiteX1" fmla="*/ 590550 w 1155700"/>
              <a:gd name="connsiteY1" fmla="*/ 644 h 1182521"/>
              <a:gd name="connsiteX2" fmla="*/ 1155700 w 1155700"/>
              <a:gd name="connsiteY2" fmla="*/ 686444 h 1182521"/>
              <a:gd name="connsiteX3" fmla="*/ 590550 w 1155700"/>
              <a:gd name="connsiteY3" fmla="*/ 1181744 h 1182521"/>
              <a:gd name="connsiteX4" fmla="*/ 0 w 1155700"/>
              <a:gd name="connsiteY4" fmla="*/ 591194 h 1182521"/>
              <a:gd name="connsiteX0" fmla="*/ 0 w 1155700"/>
              <a:gd name="connsiteY0" fmla="*/ 591194 h 1182660"/>
              <a:gd name="connsiteX1" fmla="*/ 590550 w 1155700"/>
              <a:gd name="connsiteY1" fmla="*/ 644 h 1182660"/>
              <a:gd name="connsiteX2" fmla="*/ 1155700 w 1155700"/>
              <a:gd name="connsiteY2" fmla="*/ 686444 h 1182660"/>
              <a:gd name="connsiteX3" fmla="*/ 590550 w 1155700"/>
              <a:gd name="connsiteY3" fmla="*/ 1181744 h 1182660"/>
              <a:gd name="connsiteX4" fmla="*/ 0 w 1155700"/>
              <a:gd name="connsiteY4" fmla="*/ 591194 h 1182660"/>
              <a:gd name="connsiteX0" fmla="*/ 0 w 1155700"/>
              <a:gd name="connsiteY0" fmla="*/ 590742 h 1181519"/>
              <a:gd name="connsiteX1" fmla="*/ 590550 w 1155700"/>
              <a:gd name="connsiteY1" fmla="*/ 192 h 1181519"/>
              <a:gd name="connsiteX2" fmla="*/ 1155700 w 1155700"/>
              <a:gd name="connsiteY2" fmla="*/ 641542 h 1181519"/>
              <a:gd name="connsiteX3" fmla="*/ 590550 w 1155700"/>
              <a:gd name="connsiteY3" fmla="*/ 1181292 h 1181519"/>
              <a:gd name="connsiteX4" fmla="*/ 0 w 1155700"/>
              <a:gd name="connsiteY4" fmla="*/ 590742 h 1181519"/>
              <a:gd name="connsiteX0" fmla="*/ 0 w 1193800"/>
              <a:gd name="connsiteY0" fmla="*/ 590742 h 1181519"/>
              <a:gd name="connsiteX1" fmla="*/ 628650 w 1193800"/>
              <a:gd name="connsiteY1" fmla="*/ 192 h 1181519"/>
              <a:gd name="connsiteX2" fmla="*/ 1193800 w 1193800"/>
              <a:gd name="connsiteY2" fmla="*/ 641542 h 1181519"/>
              <a:gd name="connsiteX3" fmla="*/ 628650 w 1193800"/>
              <a:gd name="connsiteY3" fmla="*/ 1181292 h 1181519"/>
              <a:gd name="connsiteX4" fmla="*/ 0 w 1193800"/>
              <a:gd name="connsiteY4" fmla="*/ 590742 h 1181519"/>
              <a:gd name="connsiteX0" fmla="*/ 103 w 1193903"/>
              <a:gd name="connsiteY0" fmla="*/ 622423 h 1213200"/>
              <a:gd name="connsiteX1" fmla="*/ 584303 w 1193903"/>
              <a:gd name="connsiteY1" fmla="*/ 123 h 1213200"/>
              <a:gd name="connsiteX2" fmla="*/ 1193903 w 1193903"/>
              <a:gd name="connsiteY2" fmla="*/ 673223 h 1213200"/>
              <a:gd name="connsiteX3" fmla="*/ 628753 w 1193903"/>
              <a:gd name="connsiteY3" fmla="*/ 1212973 h 1213200"/>
              <a:gd name="connsiteX4" fmla="*/ 103 w 1193903"/>
              <a:gd name="connsiteY4" fmla="*/ 622423 h 1213200"/>
              <a:gd name="connsiteX0" fmla="*/ 103 w 1193903"/>
              <a:gd name="connsiteY0" fmla="*/ 622423 h 1216728"/>
              <a:gd name="connsiteX1" fmla="*/ 584303 w 1193903"/>
              <a:gd name="connsiteY1" fmla="*/ 123 h 1216728"/>
              <a:gd name="connsiteX2" fmla="*/ 1193903 w 1193903"/>
              <a:gd name="connsiteY2" fmla="*/ 673223 h 1216728"/>
              <a:gd name="connsiteX3" fmla="*/ 628753 w 1193903"/>
              <a:gd name="connsiteY3" fmla="*/ 1212973 h 1216728"/>
              <a:gd name="connsiteX4" fmla="*/ 103 w 1193903"/>
              <a:gd name="connsiteY4" fmla="*/ 622423 h 1216728"/>
              <a:gd name="connsiteX0" fmla="*/ 250 w 1194050"/>
              <a:gd name="connsiteY0" fmla="*/ 622423 h 1216728"/>
              <a:gd name="connsiteX1" fmla="*/ 584450 w 1194050"/>
              <a:gd name="connsiteY1" fmla="*/ 123 h 1216728"/>
              <a:gd name="connsiteX2" fmla="*/ 1194050 w 1194050"/>
              <a:gd name="connsiteY2" fmla="*/ 673223 h 1216728"/>
              <a:gd name="connsiteX3" fmla="*/ 654300 w 1194050"/>
              <a:gd name="connsiteY3" fmla="*/ 1212973 h 1216728"/>
              <a:gd name="connsiteX4" fmla="*/ 250 w 1194050"/>
              <a:gd name="connsiteY4" fmla="*/ 622423 h 1216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4050" h="1216728">
                <a:moveTo>
                  <a:pt x="250" y="622423"/>
                </a:moveTo>
                <a:cubicBezTo>
                  <a:pt x="-11392" y="420281"/>
                  <a:pt x="385483" y="-8344"/>
                  <a:pt x="584450" y="123"/>
                </a:cubicBezTo>
                <a:cubicBezTo>
                  <a:pt x="783417" y="8590"/>
                  <a:pt x="1194050" y="347071"/>
                  <a:pt x="1194050" y="673223"/>
                </a:cubicBezTo>
                <a:cubicBezTo>
                  <a:pt x="1086100" y="993025"/>
                  <a:pt x="853267" y="1164290"/>
                  <a:pt x="654300" y="1212973"/>
                </a:cubicBezTo>
                <a:cubicBezTo>
                  <a:pt x="455333" y="1261656"/>
                  <a:pt x="11892" y="824565"/>
                  <a:pt x="250" y="622423"/>
                </a:cubicBezTo>
                <a:close/>
              </a:path>
            </a:pathLst>
          </a:custGeom>
          <a:noFill/>
          <a:ln w="31750">
            <a:solidFill>
              <a:schemeClr val="accent4"/>
            </a:solidFill>
          </a:ln>
          <a:effectLst>
            <a:outerShdw blurRad="2921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+mj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2A827C9-7D8B-EAB9-EDA2-42023555BC32}"/>
              </a:ext>
            </a:extLst>
          </p:cNvPr>
          <p:cNvSpPr txBox="1"/>
          <p:nvPr/>
        </p:nvSpPr>
        <p:spPr>
          <a:xfrm>
            <a:off x="8288036" y="2262869"/>
            <a:ext cx="2911013" cy="32203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 Data process discovery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1050" b="1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 Developing an application 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that can gather and unify data, allowing users to edit all data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 Bi-directional API: 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Send &amp; and receive event Information to any required system to create an event and receive back IDs so that bidirectional updates can be performed from either system.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105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 Data governance: 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create a method to ensure data quality and completeness.  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1050">
              <a:latin typeface="Poppins" panose="00000500000000000000" pitchFamily="2" charset="0"/>
              <a:ea typeface="+mn-lt"/>
              <a:cs typeface="Poppins" panose="00000500000000000000" pitchFamily="2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050" b="1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 Training: </a:t>
            </a:r>
            <a:r>
              <a:rPr lang="en-GB" sz="1050">
                <a:latin typeface="Poppins" panose="00000500000000000000" pitchFamily="2" charset="0"/>
                <a:ea typeface="+mn-lt"/>
                <a:cs typeface="Poppins" panose="00000500000000000000" pitchFamily="2" charset="0"/>
              </a:rPr>
              <a:t>All teams on how to enter events into the new applicat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sz="1050">
              <a:latin typeface="Poppins" panose="00000500000000000000" pitchFamily="2" charset="0"/>
              <a:ea typeface="Open Sans" panose="020B0606030504020204" pitchFamily="34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09698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Box 60">
            <a:extLst>
              <a:ext uri="{FF2B5EF4-FFF2-40B4-BE49-F238E27FC236}">
                <a16:creationId xmlns:a16="http://schemas.microsoft.com/office/drawing/2014/main" id="{0B189C4A-EC40-B71A-DB92-D6739AED5AF0}"/>
              </a:ext>
            </a:extLst>
          </p:cNvPr>
          <p:cNvSpPr txBox="1"/>
          <p:nvPr/>
        </p:nvSpPr>
        <p:spPr>
          <a:xfrm>
            <a:off x="3021593" y="1198381"/>
            <a:ext cx="4366725" cy="121533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27000">
              <a:lnSpc>
                <a:spcPct val="150000"/>
              </a:lnSpc>
            </a:pPr>
            <a:r>
              <a:rPr lang="en-GB" sz="1050" b="1" i="0">
                <a:solidFill>
                  <a:srgbClr val="374151"/>
                </a:solidFill>
                <a:effectLst/>
                <a:latin typeface="Poppins"/>
                <a:cs typeface="Poppins"/>
              </a:rPr>
              <a:t>Name of Persona:</a:t>
            </a: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 </a:t>
            </a:r>
            <a:r>
              <a:rPr lang="en-GB" sz="1050" b="1">
                <a:solidFill>
                  <a:srgbClr val="374151"/>
                </a:solidFill>
                <a:latin typeface="Poppins"/>
                <a:cs typeface="Poppins"/>
              </a:rPr>
              <a:t> </a:t>
            </a: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Business Leaders &amp; Project Managers </a:t>
            </a:r>
            <a:br>
              <a:rPr lang="en-GB" sz="1050">
                <a:solidFill>
                  <a:srgbClr val="374151"/>
                </a:solidFill>
                <a:latin typeface="Poppins"/>
                <a:cs typeface="Poppins"/>
              </a:rPr>
            </a:br>
            <a:br>
              <a:rPr lang="en-GB" sz="1050" b="1" i="0">
                <a:effectLst/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GB" sz="1050" b="1">
                <a:solidFill>
                  <a:srgbClr val="374151"/>
                </a:solidFill>
                <a:latin typeface="Poppins"/>
                <a:cs typeface="Poppins"/>
              </a:rPr>
              <a:t>Role:</a:t>
            </a: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 </a:t>
            </a:r>
            <a:r>
              <a:rPr lang="en-GB" sz="900" i="1">
                <a:solidFill>
                  <a:srgbClr val="374151"/>
                </a:solidFill>
                <a:latin typeface="Poppins"/>
                <a:cs typeface="Poppins"/>
              </a:rPr>
              <a:t>Familiar with account teams and account event </a:t>
            </a:r>
            <a:r>
              <a:rPr lang="en-GB" sz="900" b="1" i="1">
                <a:solidFill>
                  <a:srgbClr val="374151"/>
                </a:solidFill>
                <a:latin typeface="Poppins"/>
                <a:cs typeface="Poppins"/>
              </a:rPr>
              <a:t>scheduling</a:t>
            </a:r>
            <a:r>
              <a:rPr lang="en-GB" sz="900" i="1">
                <a:solidFill>
                  <a:srgbClr val="374151"/>
                </a:solidFill>
                <a:latin typeface="Poppins"/>
                <a:cs typeface="Poppins"/>
              </a:rPr>
              <a:t>, communicates with Clients' to understand </a:t>
            </a:r>
            <a:r>
              <a:rPr lang="en-GB" sz="900" b="1" i="1">
                <a:solidFill>
                  <a:srgbClr val="374151"/>
                </a:solidFill>
                <a:latin typeface="Poppins"/>
                <a:cs typeface="Poppins"/>
              </a:rPr>
              <a:t>number of events</a:t>
            </a:r>
            <a:r>
              <a:rPr lang="en-GB" sz="900" i="1">
                <a:solidFill>
                  <a:srgbClr val="374151"/>
                </a:solidFill>
                <a:latin typeface="Poppins"/>
                <a:cs typeface="Poppins"/>
              </a:rPr>
              <a:t>, </a:t>
            </a:r>
            <a:r>
              <a:rPr lang="en-GB" sz="900" b="1" i="1">
                <a:solidFill>
                  <a:srgbClr val="374151"/>
                </a:solidFill>
                <a:latin typeface="Poppins"/>
                <a:cs typeface="Poppins"/>
              </a:rPr>
              <a:t>event details</a:t>
            </a:r>
            <a:r>
              <a:rPr lang="en-GB" sz="900" i="1">
                <a:solidFill>
                  <a:srgbClr val="374151"/>
                </a:solidFill>
                <a:latin typeface="Poppins"/>
                <a:cs typeface="Poppins"/>
              </a:rPr>
              <a:t>, </a:t>
            </a:r>
            <a:r>
              <a:rPr lang="en-GB" sz="900" b="1" i="1">
                <a:solidFill>
                  <a:srgbClr val="374151"/>
                </a:solidFill>
                <a:latin typeface="Poppins"/>
                <a:cs typeface="Poppins"/>
              </a:rPr>
              <a:t>scope</a:t>
            </a:r>
            <a:r>
              <a:rPr lang="en-GB" sz="900" i="1">
                <a:solidFill>
                  <a:srgbClr val="374151"/>
                </a:solidFill>
                <a:latin typeface="Poppins"/>
                <a:cs typeface="Poppins"/>
              </a:rPr>
              <a:t> and </a:t>
            </a:r>
            <a:r>
              <a:rPr lang="en-GB" sz="900" b="1" i="1">
                <a:solidFill>
                  <a:srgbClr val="374151"/>
                </a:solidFill>
                <a:latin typeface="Poppins"/>
                <a:cs typeface="Poppins"/>
              </a:rPr>
              <a:t>timing</a:t>
            </a:r>
            <a:r>
              <a:rPr lang="en-GB" sz="900" i="1">
                <a:solidFill>
                  <a:srgbClr val="374151"/>
                </a:solidFill>
                <a:latin typeface="Poppins"/>
                <a:cs typeface="Poppins"/>
              </a:rPr>
              <a:t> for execu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14C31C7-AEB3-A4DA-DF4F-C25E1D91F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95301"/>
            <a:ext cx="11354100" cy="321425"/>
          </a:xfrm>
        </p:spPr>
        <p:txBody>
          <a:bodyPr>
            <a:normAutofit fontScale="90000"/>
          </a:bodyPr>
          <a:lstStyle/>
          <a:p>
            <a:r>
              <a:rPr lang="en-US"/>
              <a:t>USER PERSO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9485AE-4FEF-CAA8-36C0-D37F26A54742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255910" y="137659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Poppins" panose="00000500000000000000" pitchFamily="2" charset="0"/>
                <a:ea typeface="Poppins" panose="00000500000000000000" pitchFamily="2" charset="0"/>
                <a:cs typeface="Poppins" panose="00000500000000000000" pitchFamily="2" charset="0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4</a:t>
            </a:fld>
            <a:endParaRPr lang="en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52D478A-6714-4AD5-EE6F-99F656E5E024}"/>
              </a:ext>
            </a:extLst>
          </p:cNvPr>
          <p:cNvCxnSpPr>
            <a:cxnSpLocks/>
          </p:cNvCxnSpPr>
          <p:nvPr/>
        </p:nvCxnSpPr>
        <p:spPr>
          <a:xfrm>
            <a:off x="7274560" y="5063794"/>
            <a:ext cx="3498168" cy="0"/>
          </a:xfrm>
          <a:prstGeom prst="line">
            <a:avLst/>
          </a:prstGeom>
          <a:ln w="254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icture Placeholder 1">
            <a:extLst>
              <a:ext uri="{FF2B5EF4-FFF2-40B4-BE49-F238E27FC236}">
                <a16:creationId xmlns:a16="http://schemas.microsoft.com/office/drawing/2014/main" id="{EE9412E0-1DF8-2CF3-A7A9-CE2FDA605CF2}"/>
              </a:ext>
            </a:extLst>
          </p:cNvPr>
          <p:cNvSpPr txBox="1">
            <a:spLocks/>
          </p:cNvSpPr>
          <p:nvPr/>
        </p:nvSpPr>
        <p:spPr>
          <a:xfrm>
            <a:off x="3027892" y="2723491"/>
            <a:ext cx="3970622" cy="3409910"/>
          </a:xfrm>
          <a:prstGeom prst="rect">
            <a:avLst/>
          </a:prstGeom>
          <a:noFill/>
        </p:spPr>
        <p:txBody>
          <a:bodyPr lIns="182880" tIns="137160" rIns="182880" bIns="45720" anchor="t"/>
          <a:lstStyle/>
          <a:p>
            <a:pPr marL="171450" indent="-171450">
              <a:buFont typeface="Calibri"/>
              <a:buChar char="-"/>
            </a:pPr>
            <a:r>
              <a:rPr lang="en-GB" sz="1050">
                <a:latin typeface="Poppins"/>
                <a:cs typeface="Poppins"/>
              </a:rPr>
              <a:t>As a Business Leader or Project manager, I would like to have one location to track events for my client campaigns.</a:t>
            </a:r>
            <a:br>
              <a:rPr lang="en-GB" sz="1050">
                <a:latin typeface="Poppins"/>
                <a:cs typeface="Poppins"/>
              </a:rPr>
            </a:br>
            <a:endParaRPr lang="en-GB" sz="1050">
              <a:latin typeface="Poppins"/>
              <a:cs typeface="Poppins"/>
            </a:endParaRPr>
          </a:p>
          <a:p>
            <a:pPr marL="171450" indent="-171450">
              <a:buFont typeface="Calibri"/>
              <a:buChar char="-"/>
            </a:pPr>
            <a:r>
              <a:rPr lang="en-GB" sz="1050">
                <a:latin typeface="Poppins"/>
                <a:cs typeface="Poppins"/>
              </a:rPr>
              <a:t>View upcoming, past, and scheduled events in a list and a calendar. I sometimes am required to provide Client with lists of events per region or team</a:t>
            </a:r>
            <a:br>
              <a:rPr lang="en-GB" sz="1050">
                <a:latin typeface="Poppins"/>
                <a:cs typeface="Poppins"/>
              </a:rPr>
            </a:br>
            <a:endParaRPr lang="en-GB" sz="1050">
              <a:latin typeface="Poppins"/>
              <a:cs typeface="Poppins"/>
            </a:endParaRPr>
          </a:p>
          <a:p>
            <a:pPr marL="171450" indent="-171450">
              <a:buFont typeface="Calibri"/>
              <a:buChar char="-"/>
            </a:pPr>
            <a:r>
              <a:rPr lang="en-GB" sz="1050">
                <a:latin typeface="Poppins"/>
                <a:cs typeface="Poppins"/>
              </a:rPr>
              <a:t>All of my events require a unique QR code, I would like to tie each event with a QR code in an easier way to control and test. </a:t>
            </a:r>
            <a:br>
              <a:rPr lang="en-GB" sz="1050">
                <a:latin typeface="Poppins"/>
                <a:cs typeface="Poppins"/>
              </a:rPr>
            </a:br>
            <a:endParaRPr lang="en-GB" sz="1050">
              <a:latin typeface="Poppins"/>
              <a:cs typeface="Poppins"/>
            </a:endParaRPr>
          </a:p>
          <a:p>
            <a:pPr marL="171450" indent="-171450">
              <a:buFont typeface="Calibri"/>
              <a:buChar char="-"/>
            </a:pPr>
            <a:r>
              <a:rPr lang="en-GB" sz="1050">
                <a:latin typeface="Poppins"/>
                <a:cs typeface="Poppins"/>
              </a:rPr>
              <a:t>Any event that requires BA recaps should talk to our field marketing platform to capture event metrics</a:t>
            </a:r>
            <a:br>
              <a:rPr lang="en-GB" sz="1050">
                <a:latin typeface="Poppins"/>
                <a:cs typeface="Poppins"/>
              </a:rPr>
            </a:br>
            <a:endParaRPr lang="en-GB" sz="105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>
              <a:buFont typeface="Calibri"/>
              <a:buChar char="-"/>
            </a:pPr>
            <a:r>
              <a:rPr lang="en-GB" sz="1050">
                <a:latin typeface="Poppins"/>
                <a:cs typeface="Poppins"/>
              </a:rPr>
              <a:t>Once executed, all final data should be sent to MOMO Bi</a:t>
            </a:r>
            <a:endParaRPr lang="en-GB" sz="105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>
              <a:buFont typeface="Calibri"/>
              <a:buChar char="-"/>
            </a:pPr>
            <a:endParaRPr lang="en-GB" sz="105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F582275-B29D-DB26-C731-F69DC85A3440}"/>
              </a:ext>
            </a:extLst>
          </p:cNvPr>
          <p:cNvSpPr txBox="1"/>
          <p:nvPr/>
        </p:nvSpPr>
        <p:spPr>
          <a:xfrm>
            <a:off x="3021594" y="2569621"/>
            <a:ext cx="134043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buClrTx/>
              <a:defRPr/>
            </a:pPr>
            <a:r>
              <a:rPr lang="en-US" sz="1300" b="1" kern="1200">
                <a:gradFill flip="none" rotWithShape="1">
                  <a:gsLst>
                    <a:gs pos="0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25000"/>
                      </a:schemeClr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ESCRIPTION:</a:t>
            </a:r>
          </a:p>
        </p:txBody>
      </p:sp>
      <p:sp>
        <p:nvSpPr>
          <p:cNvPr id="27" name="Picture Placeholder 1">
            <a:extLst>
              <a:ext uri="{FF2B5EF4-FFF2-40B4-BE49-F238E27FC236}">
                <a16:creationId xmlns:a16="http://schemas.microsoft.com/office/drawing/2014/main" id="{9E62FA34-C1BB-9412-6ACC-EAFE9357EEF4}"/>
              </a:ext>
            </a:extLst>
          </p:cNvPr>
          <p:cNvSpPr txBox="1">
            <a:spLocks/>
          </p:cNvSpPr>
          <p:nvPr/>
        </p:nvSpPr>
        <p:spPr>
          <a:xfrm>
            <a:off x="7274560" y="1098065"/>
            <a:ext cx="4673349" cy="1160459"/>
          </a:xfrm>
          <a:prstGeom prst="rect">
            <a:avLst/>
          </a:prstGeom>
          <a:noFill/>
        </p:spPr>
        <p:txBody>
          <a:bodyPr lIns="182880" tIns="137160" rIns="182880" bIns="45720" anchor="t"/>
          <a:lstStyle/>
          <a:p>
            <a:pPr marL="171450" indent="-171450">
              <a:spcAft>
                <a:spcPts val="400"/>
              </a:spcAft>
              <a:buFont typeface="Calibri"/>
              <a:buChar char="-"/>
              <a:defRPr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A process to keep all </a:t>
            </a:r>
            <a:r>
              <a:rPr lang="en-GB" sz="1050">
                <a:latin typeface="Poppins"/>
                <a:cs typeface="Poppins"/>
              </a:rPr>
              <a:t>campaigns &amp;</a:t>
            </a: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 events up to date.</a:t>
            </a:r>
          </a:p>
          <a:p>
            <a:pPr marL="171450" indent="-171450">
              <a:spcAft>
                <a:spcPts val="400"/>
              </a:spcAft>
              <a:buFont typeface="Calibri"/>
              <a:buChar char="-"/>
              <a:defRPr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One source of truth for all event scheduling</a:t>
            </a:r>
            <a:endParaRPr lang="en-GB"/>
          </a:p>
          <a:p>
            <a:pPr marL="171450" indent="-171450">
              <a:spcAft>
                <a:spcPts val="400"/>
              </a:spcAft>
              <a:buFont typeface="Calibri"/>
              <a:buChar char="-"/>
              <a:defRPr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Mitigate multiple spreadsheets and </a:t>
            </a:r>
            <a:r>
              <a:rPr lang="en-GB" sz="1050" err="1">
                <a:solidFill>
                  <a:srgbClr val="374151"/>
                </a:solidFill>
                <a:latin typeface="Poppins"/>
                <a:cs typeface="Poppins"/>
              </a:rPr>
              <a:t>Smartsheets</a:t>
            </a: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 where events are tracked</a:t>
            </a:r>
          </a:p>
          <a:p>
            <a:pPr marL="171450" indent="-171450">
              <a:spcAft>
                <a:spcPts val="400"/>
              </a:spcAft>
              <a:buFont typeface="Calibri"/>
              <a:buChar char="-"/>
              <a:defRPr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Review upcoming and past events for planning</a:t>
            </a:r>
          </a:p>
          <a:p>
            <a:pPr lvl="1">
              <a:spcAft>
                <a:spcPts val="400"/>
              </a:spcAft>
              <a:defRPr/>
            </a:pPr>
            <a:endParaRPr lang="en-GB" sz="1050">
              <a:solidFill>
                <a:srgbClr val="374151"/>
              </a:solidFill>
              <a:latin typeface="Poppins"/>
              <a:cs typeface="Poppin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BD5653F-2AEF-7BDB-0669-0D1575AE9289}"/>
              </a:ext>
            </a:extLst>
          </p:cNvPr>
          <p:cNvSpPr txBox="1"/>
          <p:nvPr/>
        </p:nvSpPr>
        <p:spPr>
          <a:xfrm>
            <a:off x="7274560" y="1003967"/>
            <a:ext cx="79701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300" b="1">
                <a:gradFill flip="none" rotWithShape="1">
                  <a:gsLst>
                    <a:gs pos="0">
                      <a:schemeClr val="accent3"/>
                    </a:gs>
                    <a:gs pos="100000">
                      <a:schemeClr val="accent4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Century Gothic" panose="020B0502020202020204" pitchFamily="34" charset="0"/>
              </a:defRPr>
            </a:lvl1pPr>
          </a:lstStyle>
          <a:p>
            <a:pPr lvl="0">
              <a:buClrTx/>
              <a:defRPr/>
            </a:pPr>
            <a:r>
              <a:rPr lang="en-US" kern="1200">
                <a:gradFill flip="none" rotWithShape="1">
                  <a:gsLst>
                    <a:gs pos="0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25000"/>
                      </a:schemeClr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OALS:</a:t>
            </a:r>
            <a:endParaRPr kumimoji="0" lang="en-US" sz="1300" b="1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0">
                    <a:schemeClr val="bg2">
                      <a:lumMod val="75000"/>
                    </a:schemeClr>
                  </a:gs>
                  <a:gs pos="100000">
                    <a:schemeClr val="bg2">
                      <a:lumMod val="25000"/>
                    </a:schemeClr>
                  </a:gs>
                </a:gsLst>
                <a:path path="circle">
                  <a:fillToRect l="100000" b="100000"/>
                </a:path>
                <a:tileRect t="-100000" r="-100000"/>
              </a:gra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1E215C8-12EF-DBF6-F7EF-A014B83960D2}"/>
              </a:ext>
            </a:extLst>
          </p:cNvPr>
          <p:cNvCxnSpPr>
            <a:cxnSpLocks/>
          </p:cNvCxnSpPr>
          <p:nvPr/>
        </p:nvCxnSpPr>
        <p:spPr>
          <a:xfrm>
            <a:off x="7274560" y="5023733"/>
            <a:ext cx="3498168" cy="0"/>
          </a:xfrm>
          <a:prstGeom prst="line">
            <a:avLst/>
          </a:prstGeom>
          <a:ln w="254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>
            <a:extLst>
              <a:ext uri="{FF2B5EF4-FFF2-40B4-BE49-F238E27FC236}">
                <a16:creationId xmlns:a16="http://schemas.microsoft.com/office/drawing/2014/main" id="{2CBFE7EA-70A3-45DC-2AF6-14E715261A43}"/>
              </a:ext>
            </a:extLst>
          </p:cNvPr>
          <p:cNvGrpSpPr/>
          <p:nvPr/>
        </p:nvGrpSpPr>
        <p:grpSpPr>
          <a:xfrm>
            <a:off x="424247" y="1199568"/>
            <a:ext cx="2538342" cy="3264173"/>
            <a:chOff x="424247" y="1069537"/>
            <a:chExt cx="2538342" cy="3264173"/>
          </a:xfrm>
        </p:grpSpPr>
        <p:sp>
          <p:nvSpPr>
            <p:cNvPr id="49" name="Rounded Rectangle">
              <a:extLst>
                <a:ext uri="{FF2B5EF4-FFF2-40B4-BE49-F238E27FC236}">
                  <a16:creationId xmlns:a16="http://schemas.microsoft.com/office/drawing/2014/main" id="{9C173757-CD2D-A8A4-A78F-EC115260D5CE}"/>
                </a:ext>
              </a:extLst>
            </p:cNvPr>
            <p:cNvSpPr/>
            <p:nvPr/>
          </p:nvSpPr>
          <p:spPr>
            <a:xfrm>
              <a:off x="424247" y="1188867"/>
              <a:ext cx="2538342" cy="1963082"/>
            </a:xfrm>
            <a:prstGeom prst="roundRect">
              <a:avLst>
                <a:gd name="adj" fmla="val 50000"/>
              </a:avLst>
            </a:prstGeom>
            <a:blipFill dpi="0" rotWithShape="1"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  <a:sym typeface="Helvetica Neue Medium"/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6AF1FE5-D513-7F04-DF9F-0C01A474532E}"/>
                </a:ext>
              </a:extLst>
            </p:cNvPr>
            <p:cNvGrpSpPr/>
            <p:nvPr/>
          </p:nvGrpSpPr>
          <p:grpSpPr>
            <a:xfrm>
              <a:off x="585814" y="1069537"/>
              <a:ext cx="2211110" cy="2211110"/>
              <a:chOff x="585814" y="860401"/>
              <a:chExt cx="2211110" cy="2211110"/>
            </a:xfrm>
          </p:grpSpPr>
          <p:sp>
            <p:nvSpPr>
              <p:cNvPr id="47" name="Rounded Rectangle">
                <a:extLst>
                  <a:ext uri="{FF2B5EF4-FFF2-40B4-BE49-F238E27FC236}">
                    <a16:creationId xmlns:a16="http://schemas.microsoft.com/office/drawing/2014/main" id="{C537DFD5-3C48-C481-B3BA-9B949E8DE62D}"/>
                  </a:ext>
                </a:extLst>
              </p:cNvPr>
              <p:cNvSpPr/>
              <p:nvPr/>
            </p:nvSpPr>
            <p:spPr>
              <a:xfrm rot="16997954">
                <a:off x="585814" y="860401"/>
                <a:ext cx="2211110" cy="2211110"/>
              </a:xfrm>
              <a:prstGeom prst="roundRect">
                <a:avLst>
                  <a:gd name="adj" fmla="val 50000"/>
                </a:avLst>
              </a:prstGeom>
              <a:noFill/>
              <a:ln w="6350">
                <a:gradFill flip="none" rotWithShape="1">
                  <a:gsLst>
                    <a:gs pos="0">
                      <a:schemeClr val="accent1">
                        <a:alpha val="5000"/>
                      </a:schemeClr>
                    </a:gs>
                    <a:gs pos="50000">
                      <a:schemeClr val="accent3">
                        <a:alpha val="15000"/>
                      </a:schemeClr>
                    </a:gs>
                    <a:gs pos="100000">
                      <a:schemeClr val="accent4">
                        <a:alpha val="20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288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1" i="0" u="none" strike="noStrike" kern="1200" cap="none" spc="0" normalizeH="0" baseline="0" noProof="0">
                  <a:ln>
                    <a:noFill/>
                  </a:ln>
                  <a:solidFill>
                    <a:srgbClr val="F7F5F4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</a:endParaRPr>
              </a:p>
            </p:txBody>
          </p:sp>
          <p:sp>
            <p:nvSpPr>
              <p:cNvPr id="48" name="Rounded Rectangle">
                <a:extLst>
                  <a:ext uri="{FF2B5EF4-FFF2-40B4-BE49-F238E27FC236}">
                    <a16:creationId xmlns:a16="http://schemas.microsoft.com/office/drawing/2014/main" id="{4DFBE14A-E8B9-0D26-6685-F5291657F7CF}"/>
                  </a:ext>
                </a:extLst>
              </p:cNvPr>
              <p:cNvSpPr/>
              <p:nvPr/>
            </p:nvSpPr>
            <p:spPr>
              <a:xfrm rot="211906">
                <a:off x="646490" y="915871"/>
                <a:ext cx="2090802" cy="2090802"/>
              </a:xfrm>
              <a:prstGeom prst="roundRect">
                <a:avLst>
                  <a:gd name="adj" fmla="val 50000"/>
                </a:avLst>
              </a:prstGeom>
              <a:noFill/>
              <a:ln w="6350">
                <a:gradFill flip="none" rotWithShape="1">
                  <a:gsLst>
                    <a:gs pos="0">
                      <a:schemeClr val="accent1">
                        <a:alpha val="25000"/>
                      </a:schemeClr>
                    </a:gs>
                    <a:gs pos="50000">
                      <a:schemeClr val="accent3">
                        <a:alpha val="35000"/>
                      </a:schemeClr>
                    </a:gs>
                    <a:gs pos="100000">
                      <a:schemeClr val="accent4">
                        <a:alpha val="50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288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1" i="0" u="none" strike="noStrike" kern="1200" cap="none" spc="0" normalizeH="0" baseline="0" noProof="0">
                  <a:ln>
                    <a:noFill/>
                  </a:ln>
                  <a:solidFill>
                    <a:srgbClr val="F7F5F4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</a:endParaRPr>
              </a:p>
            </p:txBody>
          </p:sp>
        </p:grpSp>
        <p:sp>
          <p:nvSpPr>
            <p:cNvPr id="50" name="Rounded Rectangle">
              <a:extLst>
                <a:ext uri="{FF2B5EF4-FFF2-40B4-BE49-F238E27FC236}">
                  <a16:creationId xmlns:a16="http://schemas.microsoft.com/office/drawing/2014/main" id="{31D2EA10-9B51-E346-118E-900E2208B5BB}"/>
                </a:ext>
              </a:extLst>
            </p:cNvPr>
            <p:cNvSpPr/>
            <p:nvPr/>
          </p:nvSpPr>
          <p:spPr>
            <a:xfrm>
              <a:off x="474861" y="2692386"/>
              <a:ext cx="2487728" cy="1641324"/>
            </a:xfrm>
            <a:prstGeom prst="roundRect">
              <a:avLst>
                <a:gd name="adj" fmla="val 9037"/>
              </a:avLst>
            </a:prstGeom>
            <a:gradFill flip="none" rotWithShape="1">
              <a:gsLst>
                <a:gs pos="19000">
                  <a:srgbClr val="0EBDC5"/>
                </a:gs>
                <a:gs pos="71000">
                  <a:srgbClr val="0781C2"/>
                </a:gs>
                <a:gs pos="40000">
                  <a:schemeClr val="accent3"/>
                </a:gs>
                <a:gs pos="100000">
                  <a:schemeClr val="accent4"/>
                </a:gs>
              </a:gsLst>
              <a:path path="circle">
                <a:fillToRect r="100000" b="100000"/>
              </a:path>
              <a:tileRect l="-100000" t="-100000"/>
            </a:gradFill>
            <a:ln w="25400" cap="flat">
              <a:noFill/>
              <a:miter lim="400000"/>
            </a:ln>
            <a:effectLst>
              <a:outerShdw blurRad="508000" sx="97000" sy="97000" algn="ctr" rotWithShape="0">
                <a:prstClr val="black">
                  <a:alpha val="25000"/>
                </a:prstClr>
              </a:outerShdw>
            </a:effectLst>
          </p:spPr>
          <p:txBody>
            <a:bodyPr wrap="square" lIns="91440" tIns="0" rIns="91440" bIns="45720" numCol="1" anchor="ctr">
              <a:noAutofit/>
            </a:bodyPr>
            <a:lstStyle/>
            <a:p>
              <a:pPr lvl="0" algn="ctr">
                <a:buClrTx/>
                <a:defRPr/>
              </a:pPr>
              <a:r>
                <a:rPr lang="en-GB" sz="1000" b="1" i="1">
                  <a:solidFill>
                    <a:schemeClr val="bg1"/>
                  </a:solidFill>
                  <a:latin typeface="Poppins"/>
                  <a:cs typeface="Poppins"/>
                </a:rPr>
                <a:t>My job is to </a:t>
              </a:r>
              <a:r>
                <a:rPr lang="en-US" sz="1000" b="1" i="1" u="none" strike="noStrike">
                  <a:solidFill>
                    <a:srgbClr val="FFFFFF"/>
                  </a:solidFill>
                  <a:effectLst/>
                  <a:latin typeface="Poppins" pitchFamily="2" charset="77"/>
                  <a:cs typeface="Poppins" panose="00000500000000000000" pitchFamily="2" charset="0"/>
                </a:rPr>
                <a:t>oversee and drive the successful execution and delivery of projects within the agency, through building and orchestrating project plans across the business.</a:t>
              </a:r>
              <a:endParaRPr lang="en-GB" sz="1000" b="1" i="1">
                <a:solidFill>
                  <a:schemeClr val="bg1"/>
                </a:solidFill>
                <a:latin typeface="Poppins"/>
                <a:cs typeface="Poppin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8A49FFE-6837-F603-11A7-D8D3571D5594}"/>
                </a:ext>
              </a:extLst>
            </p:cNvPr>
            <p:cNvSpPr/>
            <p:nvPr/>
          </p:nvSpPr>
          <p:spPr>
            <a:xfrm>
              <a:off x="2636429" y="4020706"/>
              <a:ext cx="127848" cy="101460"/>
            </a:xfrm>
            <a:custGeom>
              <a:avLst/>
              <a:gdLst>
                <a:gd name="connsiteX0" fmla="*/ 285750 w 476250"/>
                <a:gd name="connsiteY0" fmla="*/ 0 h 377952"/>
                <a:gd name="connsiteX1" fmla="*/ 476250 w 476250"/>
                <a:gd name="connsiteY1" fmla="*/ 0 h 377952"/>
                <a:gd name="connsiteX2" fmla="*/ 476250 w 476250"/>
                <a:gd name="connsiteY2" fmla="*/ 190500 h 377952"/>
                <a:gd name="connsiteX3" fmla="*/ 285750 w 476250"/>
                <a:gd name="connsiteY3" fmla="*/ 377952 h 377952"/>
                <a:gd name="connsiteX4" fmla="*/ 285750 w 476250"/>
                <a:gd name="connsiteY4" fmla="*/ 296228 h 377952"/>
                <a:gd name="connsiteX5" fmla="*/ 394430 w 476250"/>
                <a:gd name="connsiteY5" fmla="*/ 190500 h 377952"/>
                <a:gd name="connsiteX6" fmla="*/ 285750 w 476250"/>
                <a:gd name="connsiteY6" fmla="*/ 190500 h 377952"/>
                <a:gd name="connsiteX7" fmla="*/ 0 w 476250"/>
                <a:gd name="connsiteY7" fmla="*/ 0 h 377952"/>
                <a:gd name="connsiteX8" fmla="*/ 190500 w 476250"/>
                <a:gd name="connsiteY8" fmla="*/ 0 h 377952"/>
                <a:gd name="connsiteX9" fmla="*/ 190500 w 476250"/>
                <a:gd name="connsiteY9" fmla="*/ 190500 h 377952"/>
                <a:gd name="connsiteX10" fmla="*/ 0 w 476250"/>
                <a:gd name="connsiteY10" fmla="*/ 377952 h 377952"/>
                <a:gd name="connsiteX11" fmla="*/ 0 w 476250"/>
                <a:gd name="connsiteY11" fmla="*/ 296228 h 377952"/>
                <a:gd name="connsiteX12" fmla="*/ 108680 w 476250"/>
                <a:gd name="connsiteY12" fmla="*/ 190500 h 377952"/>
                <a:gd name="connsiteX13" fmla="*/ 0 w 476250"/>
                <a:gd name="connsiteY13" fmla="*/ 190500 h 37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6250" h="377952">
                  <a:moveTo>
                    <a:pt x="285750" y="0"/>
                  </a:moveTo>
                  <a:lnTo>
                    <a:pt x="476250" y="0"/>
                  </a:lnTo>
                  <a:lnTo>
                    <a:pt x="476250" y="190500"/>
                  </a:lnTo>
                  <a:cubicBezTo>
                    <a:pt x="474585" y="294518"/>
                    <a:pt x="389781" y="377965"/>
                    <a:pt x="285750" y="377952"/>
                  </a:cubicBezTo>
                  <a:lnTo>
                    <a:pt x="285750" y="296228"/>
                  </a:lnTo>
                  <a:cubicBezTo>
                    <a:pt x="344617" y="296199"/>
                    <a:pt x="392781" y="249344"/>
                    <a:pt x="394430" y="190500"/>
                  </a:cubicBezTo>
                  <a:lnTo>
                    <a:pt x="285750" y="190500"/>
                  </a:lnTo>
                  <a:close/>
                  <a:moveTo>
                    <a:pt x="0" y="0"/>
                  </a:moveTo>
                  <a:lnTo>
                    <a:pt x="190500" y="0"/>
                  </a:lnTo>
                  <a:lnTo>
                    <a:pt x="190500" y="190500"/>
                  </a:lnTo>
                  <a:cubicBezTo>
                    <a:pt x="188835" y="294518"/>
                    <a:pt x="104031" y="377965"/>
                    <a:pt x="0" y="377952"/>
                  </a:cubicBezTo>
                  <a:lnTo>
                    <a:pt x="0" y="296228"/>
                  </a:lnTo>
                  <a:cubicBezTo>
                    <a:pt x="58867" y="296199"/>
                    <a:pt x="107031" y="249344"/>
                    <a:pt x="108680" y="190500"/>
                  </a:cubicBezTo>
                  <a:lnTo>
                    <a:pt x="0" y="19050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B1E2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6F3E653-7EEF-6BA0-2923-D98A1EBA1BFE}"/>
                </a:ext>
              </a:extLst>
            </p:cNvPr>
            <p:cNvSpPr/>
            <p:nvPr/>
          </p:nvSpPr>
          <p:spPr>
            <a:xfrm>
              <a:off x="584076" y="2854813"/>
              <a:ext cx="127848" cy="101460"/>
            </a:xfrm>
            <a:custGeom>
              <a:avLst/>
              <a:gdLst>
                <a:gd name="connsiteX0" fmla="*/ 476250 w 476250"/>
                <a:gd name="connsiteY0" fmla="*/ 0 h 377952"/>
                <a:gd name="connsiteX1" fmla="*/ 476250 w 476250"/>
                <a:gd name="connsiteY1" fmla="*/ 81725 h 377952"/>
                <a:gd name="connsiteX2" fmla="*/ 367570 w 476250"/>
                <a:gd name="connsiteY2" fmla="*/ 187452 h 377952"/>
                <a:gd name="connsiteX3" fmla="*/ 476250 w 476250"/>
                <a:gd name="connsiteY3" fmla="*/ 187452 h 377952"/>
                <a:gd name="connsiteX4" fmla="*/ 476250 w 476250"/>
                <a:gd name="connsiteY4" fmla="*/ 377952 h 377952"/>
                <a:gd name="connsiteX5" fmla="*/ 285750 w 476250"/>
                <a:gd name="connsiteY5" fmla="*/ 377952 h 377952"/>
                <a:gd name="connsiteX6" fmla="*/ 285750 w 476250"/>
                <a:gd name="connsiteY6" fmla="*/ 187452 h 377952"/>
                <a:gd name="connsiteX7" fmla="*/ 476250 w 476250"/>
                <a:gd name="connsiteY7" fmla="*/ 0 h 377952"/>
                <a:gd name="connsiteX8" fmla="*/ 190500 w 476250"/>
                <a:gd name="connsiteY8" fmla="*/ 0 h 377952"/>
                <a:gd name="connsiteX9" fmla="*/ 190500 w 476250"/>
                <a:gd name="connsiteY9" fmla="*/ 81725 h 377952"/>
                <a:gd name="connsiteX10" fmla="*/ 81820 w 476250"/>
                <a:gd name="connsiteY10" fmla="*/ 187452 h 377952"/>
                <a:gd name="connsiteX11" fmla="*/ 190500 w 476250"/>
                <a:gd name="connsiteY11" fmla="*/ 187452 h 377952"/>
                <a:gd name="connsiteX12" fmla="*/ 190500 w 476250"/>
                <a:gd name="connsiteY12" fmla="*/ 377952 h 377952"/>
                <a:gd name="connsiteX13" fmla="*/ 0 w 476250"/>
                <a:gd name="connsiteY13" fmla="*/ 377952 h 377952"/>
                <a:gd name="connsiteX14" fmla="*/ 0 w 476250"/>
                <a:gd name="connsiteY14" fmla="*/ 187452 h 377952"/>
                <a:gd name="connsiteX15" fmla="*/ 190500 w 476250"/>
                <a:gd name="connsiteY15" fmla="*/ 0 h 37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6250" h="377952">
                  <a:moveTo>
                    <a:pt x="476250" y="0"/>
                  </a:moveTo>
                  <a:lnTo>
                    <a:pt x="476250" y="81725"/>
                  </a:lnTo>
                  <a:cubicBezTo>
                    <a:pt x="417383" y="81753"/>
                    <a:pt x="369219" y="128608"/>
                    <a:pt x="367570" y="187452"/>
                  </a:cubicBezTo>
                  <a:lnTo>
                    <a:pt x="476250" y="187452"/>
                  </a:lnTo>
                  <a:lnTo>
                    <a:pt x="476250" y="377952"/>
                  </a:lnTo>
                  <a:lnTo>
                    <a:pt x="285750" y="377952"/>
                  </a:lnTo>
                  <a:lnTo>
                    <a:pt x="285750" y="187452"/>
                  </a:lnTo>
                  <a:cubicBezTo>
                    <a:pt x="287415" y="83434"/>
                    <a:pt x="372219" y="-13"/>
                    <a:pt x="476250" y="0"/>
                  </a:cubicBezTo>
                  <a:close/>
                  <a:moveTo>
                    <a:pt x="190500" y="0"/>
                  </a:moveTo>
                  <a:lnTo>
                    <a:pt x="190500" y="81725"/>
                  </a:lnTo>
                  <a:cubicBezTo>
                    <a:pt x="131633" y="81753"/>
                    <a:pt x="83469" y="128608"/>
                    <a:pt x="81820" y="187452"/>
                  </a:cubicBezTo>
                  <a:lnTo>
                    <a:pt x="190500" y="187452"/>
                  </a:lnTo>
                  <a:lnTo>
                    <a:pt x="190500" y="377952"/>
                  </a:lnTo>
                  <a:lnTo>
                    <a:pt x="0" y="377952"/>
                  </a:lnTo>
                  <a:lnTo>
                    <a:pt x="0" y="187452"/>
                  </a:lnTo>
                  <a:cubicBezTo>
                    <a:pt x="1665" y="83434"/>
                    <a:pt x="86469" y="-13"/>
                    <a:pt x="190500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B1E2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98386E81-E08A-95F7-A62A-9EECA8764C02}"/>
              </a:ext>
            </a:extLst>
          </p:cNvPr>
          <p:cNvSpPr txBox="1"/>
          <p:nvPr/>
        </p:nvSpPr>
        <p:spPr>
          <a:xfrm>
            <a:off x="3021594" y="950583"/>
            <a:ext cx="1018227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Tx/>
              <a:defRPr/>
            </a:pPr>
            <a:r>
              <a:rPr lang="en-US" sz="1300" b="1" kern="1200">
                <a:gradFill flip="none" rotWithShape="1">
                  <a:gsLst>
                    <a:gs pos="0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25000"/>
                      </a:schemeClr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ERSONA: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87CC908-B24B-E1D0-16AC-122209AD332F}"/>
              </a:ext>
            </a:extLst>
          </p:cNvPr>
          <p:cNvSpPr txBox="1"/>
          <p:nvPr/>
        </p:nvSpPr>
        <p:spPr>
          <a:xfrm>
            <a:off x="7274560" y="2600943"/>
            <a:ext cx="1334020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300" b="1">
                <a:gradFill flip="none" rotWithShape="1">
                  <a:gsLst>
                    <a:gs pos="0">
                      <a:schemeClr val="accent3"/>
                    </a:gs>
                    <a:gs pos="100000">
                      <a:schemeClr val="accent4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Century Gothic" panose="020B0502020202020204" pitchFamily="34" charset="0"/>
              </a:defRPr>
            </a:lvl1pPr>
          </a:lstStyle>
          <a:p>
            <a:pPr>
              <a:buClrTx/>
              <a:defRPr/>
            </a:pPr>
            <a:r>
              <a:rPr lang="en-US" kern="1200">
                <a:gradFill flip="none" rotWithShape="1">
                  <a:gsLst>
                    <a:gs pos="0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25000"/>
                      </a:schemeClr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HALLENGES: 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5DE3B5C-0043-327F-C560-65B219142580}"/>
              </a:ext>
            </a:extLst>
          </p:cNvPr>
          <p:cNvSpPr txBox="1"/>
          <p:nvPr/>
        </p:nvSpPr>
        <p:spPr>
          <a:xfrm>
            <a:off x="7274560" y="4697359"/>
            <a:ext cx="2767104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300" b="1">
                <a:gradFill flip="none" rotWithShape="1">
                  <a:gsLst>
                    <a:gs pos="0">
                      <a:schemeClr val="accent3"/>
                    </a:gs>
                    <a:gs pos="100000">
                      <a:schemeClr val="accent4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Century Gothic" panose="020B0502020202020204" pitchFamily="34" charset="0"/>
              </a:defRPr>
            </a:lvl1pPr>
          </a:lstStyle>
          <a:p>
            <a:pPr lvl="0">
              <a:buClrTx/>
              <a:defRPr/>
            </a:pPr>
            <a:r>
              <a:rPr lang="en-US" kern="1200">
                <a:gradFill flip="none" rotWithShape="1">
                  <a:gsLst>
                    <a:gs pos="0">
                      <a:schemeClr val="bg2">
                        <a:lumMod val="75000"/>
                      </a:schemeClr>
                    </a:gs>
                    <a:gs pos="100000">
                      <a:schemeClr val="bg2">
                        <a:lumMod val="25000"/>
                      </a:schemeClr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WORKFLOW &amp; FEATURES USED: </a:t>
            </a:r>
          </a:p>
        </p:txBody>
      </p:sp>
      <p:sp>
        <p:nvSpPr>
          <p:cNvPr id="73" name="Picture Placeholder 1">
            <a:extLst>
              <a:ext uri="{FF2B5EF4-FFF2-40B4-BE49-F238E27FC236}">
                <a16:creationId xmlns:a16="http://schemas.microsoft.com/office/drawing/2014/main" id="{E4DC4D4C-369A-E7C4-ADFD-E93BD716F85B}"/>
              </a:ext>
            </a:extLst>
          </p:cNvPr>
          <p:cNvSpPr txBox="1">
            <a:spLocks/>
          </p:cNvSpPr>
          <p:nvPr/>
        </p:nvSpPr>
        <p:spPr>
          <a:xfrm>
            <a:off x="7274560" y="2729979"/>
            <a:ext cx="4724550" cy="1927320"/>
          </a:xfrm>
          <a:prstGeom prst="rect">
            <a:avLst/>
          </a:prstGeom>
          <a:noFill/>
        </p:spPr>
        <p:txBody>
          <a:bodyPr lIns="182880" tIns="137160" rIns="182880" bIns="45720" anchor="t"/>
          <a:lstStyle/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Siloed communication: change requests between client and production teams</a:t>
            </a:r>
          </a:p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Large volumes &amp; multiple locations to track the same information</a:t>
            </a:r>
          </a:p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Multiple stakeholders in projects</a:t>
            </a:r>
          </a:p>
        </p:txBody>
      </p:sp>
      <p:sp>
        <p:nvSpPr>
          <p:cNvPr id="74" name="Picture Placeholder 1">
            <a:extLst>
              <a:ext uri="{FF2B5EF4-FFF2-40B4-BE49-F238E27FC236}">
                <a16:creationId xmlns:a16="http://schemas.microsoft.com/office/drawing/2014/main" id="{A94924CD-9093-B385-3CB2-EB5D01E02154}"/>
              </a:ext>
            </a:extLst>
          </p:cNvPr>
          <p:cNvSpPr txBox="1">
            <a:spLocks/>
          </p:cNvSpPr>
          <p:nvPr/>
        </p:nvSpPr>
        <p:spPr>
          <a:xfrm>
            <a:off x="7274560" y="4865872"/>
            <a:ext cx="4724550" cy="1272492"/>
          </a:xfrm>
          <a:prstGeom prst="rect">
            <a:avLst/>
          </a:prstGeom>
          <a:noFill/>
        </p:spPr>
        <p:txBody>
          <a:bodyPr lIns="182880" tIns="137160" rIns="182880" bIns="45720" anchor="t"/>
          <a:lstStyle/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Scheduling event data: Event Name, Date, Location, Team</a:t>
            </a:r>
          </a:p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Assigning events to Field Marketing system</a:t>
            </a:r>
          </a:p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QR Code generation within UXP</a:t>
            </a:r>
          </a:p>
          <a:p>
            <a:pPr marL="171450" indent="-171450">
              <a:lnSpc>
                <a:spcPct val="150000"/>
              </a:lnSpc>
              <a:buFont typeface="Calibri"/>
              <a:buChar char="-"/>
            </a:pPr>
            <a:r>
              <a:rPr lang="en-GB" sz="1050">
                <a:solidFill>
                  <a:srgbClr val="374151"/>
                </a:solidFill>
                <a:latin typeface="Poppins"/>
                <a:cs typeface="Poppins"/>
              </a:rPr>
              <a:t>Calendar and Event list within UXP</a:t>
            </a:r>
          </a:p>
        </p:txBody>
      </p:sp>
    </p:spTree>
    <p:extLst>
      <p:ext uri="{BB962C8B-B14F-4D97-AF65-F5344CB8AC3E}">
        <p14:creationId xmlns:p14="http://schemas.microsoft.com/office/powerpoint/2010/main" val="3506132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7" grpId="0"/>
      <p:bldP spid="28" grpId="0"/>
      <p:bldP spid="65" grpId="0"/>
      <p:bldP spid="68" grpId="0"/>
      <p:bldP spid="69" grpId="0"/>
      <p:bldP spid="73" grpId="0"/>
      <p:bldP spid="7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E01080-880A-B173-38A7-25884D6F79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500"/>
              <a:t>BENEF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C11859-4542-8B7C-D1B8-1375A50358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350989"/>
            <a:ext cx="11353800" cy="487110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GB">
                <a:latin typeface="Poppins" panose="00000500000000000000" pitchFamily="2" charset="0"/>
                <a:ea typeface="Yu Mincho"/>
                <a:cs typeface="Poppins" panose="00000500000000000000" pitchFamily="2" charset="0"/>
              </a:rPr>
              <a:t>Our primary audience is business leaders and project managers who are in charge of activations.</a:t>
            </a:r>
            <a:endParaRPr lang="en-US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  <a:buFont typeface="+mj-lt"/>
              <a:buChar char="•"/>
            </a:pPr>
            <a:endParaRPr lang="en-US" sz="2600">
              <a:latin typeface="Arial"/>
              <a:cs typeface="Arial"/>
            </a:endParaRPr>
          </a:p>
          <a:p>
            <a:pPr>
              <a:lnSpc>
                <a:spcPct val="100000"/>
              </a:lnSpc>
              <a:spcAft>
                <a:spcPts val="0"/>
              </a:spcAft>
              <a:buFont typeface="+mj-lt"/>
              <a:buChar char="•"/>
            </a:pPr>
            <a:endParaRPr lang="en-US">
              <a:latin typeface="Arial"/>
              <a:cs typeface="Arial"/>
            </a:endParaRPr>
          </a:p>
          <a:p>
            <a:pPr marL="342900" indent="-342900">
              <a:lnSpc>
                <a:spcPct val="114999"/>
              </a:lnSpc>
              <a:buAutoNum type="arabicPeriod"/>
            </a:pPr>
            <a:endParaRPr lang="en-GB" sz="1800">
              <a:latin typeface="Momo Neue"/>
              <a:ea typeface="Yu Mincho" panose="02020400000000000000" pitchFamily="18" charset="-128"/>
            </a:endParaRP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endParaRPr lang="en-GB" sz="1800">
              <a:latin typeface="Calibri" panose="020F0502020204030204" pitchFamily="34" charset="0"/>
              <a:ea typeface="Yu Mincho" panose="02020400000000000000" pitchFamily="18" charset="-128"/>
            </a:endParaRP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endParaRPr lang="en-GB" sz="1800"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C36522-A878-41B5-9D50-A913E22A4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5</a:t>
            </a:fld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AE5163B-87D9-8D7E-E794-04A32C6437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9173667"/>
              </p:ext>
            </p:extLst>
          </p:nvPr>
        </p:nvGraphicFramePr>
        <p:xfrm>
          <a:off x="419100" y="1806391"/>
          <a:ext cx="10848840" cy="32452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94976">
                  <a:extLst>
                    <a:ext uri="{9D8B030D-6E8A-4147-A177-3AD203B41FA5}">
                      <a16:colId xmlns:a16="http://schemas.microsoft.com/office/drawing/2014/main" val="1192650131"/>
                    </a:ext>
                  </a:extLst>
                </a:gridCol>
                <a:gridCol w="3673730">
                  <a:extLst>
                    <a:ext uri="{9D8B030D-6E8A-4147-A177-3AD203B41FA5}">
                      <a16:colId xmlns:a16="http://schemas.microsoft.com/office/drawing/2014/main" val="1393739186"/>
                    </a:ext>
                  </a:extLst>
                </a:gridCol>
                <a:gridCol w="4880134">
                  <a:extLst>
                    <a:ext uri="{9D8B030D-6E8A-4147-A177-3AD203B41FA5}">
                      <a16:colId xmlns:a16="http://schemas.microsoft.com/office/drawing/2014/main" val="2594816048"/>
                    </a:ext>
                  </a:extLst>
                </a:gridCol>
              </a:tblGrid>
              <a:tr h="399731">
                <a:tc>
                  <a:txBody>
                    <a:bodyPr/>
                    <a:lstStyle/>
                    <a:p>
                      <a:pPr algn="ctr" rtl="0" fontAlgn="auto"/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DELIVERABLE</a:t>
                      </a:r>
                      <a:endParaRPr lang="en-US" sz="1400" b="1" i="0">
                        <a:solidFill>
                          <a:srgbClr val="FFFFFF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auto"/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BENEFIT</a:t>
                      </a:r>
                      <a:r>
                        <a:rPr lang="en-US" sz="1400" b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</a:t>
                      </a:r>
                      <a:endParaRPr lang="en-US" sz="1400" b="1" i="0">
                        <a:solidFill>
                          <a:srgbClr val="FFFFFF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AIN SOLVED</a:t>
                      </a:r>
                      <a:r>
                        <a:rPr lang="en-US" sz="1400" b="0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</a:t>
                      </a:r>
                      <a:endParaRPr lang="en-US" sz="1400" b="1" i="0">
                        <a:solidFill>
                          <a:srgbClr val="FFFFFF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5335264"/>
                  </a:ext>
                </a:extLst>
              </a:tr>
              <a:tr h="644977">
                <a:tc>
                  <a:txBody>
                    <a:bodyPr/>
                    <a:lstStyle/>
                    <a:p>
                      <a:pPr algn="r" rtl="0" fontAlgn="auto"/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Front End</a:t>
                      </a:r>
                      <a:endParaRPr lang="en-US" sz="1400" b="1" i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</a:t>
                      </a: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entralized</a:t>
                      </a: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management of all </a:t>
                      </a: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ctivation data </a:t>
                      </a: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</a:t>
                      </a:r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cattered and disorganized data across multiple systems ​</a:t>
                      </a:r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904284"/>
                  </a:ext>
                </a:extLst>
              </a:tr>
              <a:tr h="910556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atabase</a:t>
                      </a:r>
                      <a:endParaRPr lang="en-US" sz="1400" b="1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</a:t>
                      </a:r>
                      <a:r>
                        <a:rPr lang="en-US" sz="1100" b="1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ll</a:t>
                      </a: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</a:t>
                      </a:r>
                      <a:r>
                        <a:rPr lang="en-US" sz="1100" b="1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GUIDs</a:t>
                      </a: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, and base Information. </a:t>
                      </a:r>
                      <a:b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b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an be enriched with additional IDs and transactional data from 3rd party systems</a:t>
                      </a:r>
                      <a:endParaRPr lang="en-US" sz="11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​Difficulty in tracking and managing events ​and multiple systems</a:t>
                      </a:r>
                      <a:b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b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</a:b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Manual GUID creation</a:t>
                      </a:r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7026862"/>
                  </a:ext>
                </a:extLst>
              </a:tr>
              <a:tr h="644977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400" b="1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APIs </a:t>
                      </a:r>
                      <a:endParaRPr lang="en-US" sz="1400" b="1" i="0" u="none" strike="noStrike" baseline="0" noProof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Will </a:t>
                      </a:r>
                      <a:r>
                        <a:rPr lang="en-US" sz="1100" b="1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nnect</a:t>
                      </a: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bi-directional API's with third party </a:t>
                      </a:r>
                      <a:r>
                        <a:rPr lang="en-US" sz="1100" b="1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ystems</a:t>
                      </a: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 </a:t>
                      </a:r>
                      <a:endParaRPr lang="en-US" sz="1100" b="0" i="0" u="none" strike="noStrike" baseline="0" noProof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Manual downloads of data and manual data mapping</a:t>
                      </a:r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880857"/>
                  </a:ext>
                </a:extLst>
              </a:tr>
              <a:tr h="644977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400" b="1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raining &amp; Documentation</a:t>
                      </a:r>
                      <a:endParaRPr lang="en-US" sz="1400" b="1" i="0" u="none" strike="noStrike" baseline="0" noProof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u="none" strike="noStrike" baseline="0" noProof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treamline training and documentation across business units </a:t>
                      </a:r>
                      <a:endParaRPr lang="en-US" sz="1100" b="0" i="0" u="none" strike="noStrike" baseline="0" noProof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  <a:effectLst/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Lack of unified training across teams and offices</a:t>
                      </a:r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079720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29046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557EEF6-07E1-F7EA-3779-6A6EDEECC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39" y="381307"/>
            <a:ext cx="11353800" cy="5859916"/>
          </a:xfrm>
        </p:spPr>
        <p:txBody>
          <a:bodyPr/>
          <a:lstStyle/>
          <a:p>
            <a:r>
              <a:rPr lang="en-GB">
                <a:latin typeface="Arial Black"/>
              </a:rPr>
              <a:t>TECHNOLOGY APPROACH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1C845B-4AD0-6BF3-7663-7F7C3ECC8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040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A56CCF-7148-1129-C67E-17FC152EB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/>
              <a:t>UNIFIED SYSTEMS VISION</a:t>
            </a:r>
            <a:br>
              <a:rPr lang="en-GB"/>
            </a:b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F02D59-90B7-8226-718D-618C4335A914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255910" y="137659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7</a:t>
            </a:fld>
            <a:endParaRPr lang="en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83097A3-AB18-13A7-36B9-3156224C4EED}"/>
              </a:ext>
            </a:extLst>
          </p:cNvPr>
          <p:cNvGrpSpPr/>
          <p:nvPr/>
        </p:nvGrpSpPr>
        <p:grpSpPr>
          <a:xfrm>
            <a:off x="7566186" y="1715940"/>
            <a:ext cx="2699169" cy="2699169"/>
            <a:chOff x="6532134" y="3255357"/>
            <a:chExt cx="1653872" cy="165387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38607C3-944A-8189-5471-629365EDE630}"/>
                </a:ext>
              </a:extLst>
            </p:cNvPr>
            <p:cNvSpPr/>
            <p:nvPr/>
          </p:nvSpPr>
          <p:spPr>
            <a:xfrm>
              <a:off x="6532134" y="3255357"/>
              <a:ext cx="1653872" cy="1653872"/>
            </a:xfrm>
            <a:prstGeom prst="ellipse">
              <a:avLst/>
            </a:prstGeom>
            <a:solidFill>
              <a:srgbClr val="F263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1" name="Graphic 20" descr="Database outline">
              <a:extLst>
                <a:ext uri="{FF2B5EF4-FFF2-40B4-BE49-F238E27FC236}">
                  <a16:creationId xmlns:a16="http://schemas.microsoft.com/office/drawing/2014/main" id="{564671D6-3650-D802-D1A2-4BB792E496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899213" y="3646644"/>
              <a:ext cx="914804" cy="914804"/>
            </a:xfrm>
            <a:prstGeom prst="rect">
              <a:avLst/>
            </a:prstGeom>
          </p:spPr>
        </p:pic>
      </p:grpSp>
      <p:sp>
        <p:nvSpPr>
          <p:cNvPr id="2056" name="Rectangle: Rounded Corners 2055">
            <a:extLst>
              <a:ext uri="{FF2B5EF4-FFF2-40B4-BE49-F238E27FC236}">
                <a16:creationId xmlns:a16="http://schemas.microsoft.com/office/drawing/2014/main" id="{5152C26A-0DD8-1069-2F39-50B7782C5CB6}"/>
              </a:ext>
            </a:extLst>
          </p:cNvPr>
          <p:cNvSpPr/>
          <p:nvPr/>
        </p:nvSpPr>
        <p:spPr>
          <a:xfrm>
            <a:off x="2270605" y="2663299"/>
            <a:ext cx="5523745" cy="900000"/>
          </a:xfrm>
          <a:prstGeom prst="roundRect">
            <a:avLst/>
          </a:prstGeom>
          <a:solidFill>
            <a:srgbClr val="397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>
                <a:solidFill>
                  <a:schemeClr val="accent5"/>
                </a:solidFill>
              </a:rPr>
              <a:t>PROJECT</a:t>
            </a:r>
            <a:endParaRPr lang="en-GB" sz="1800" b="1">
              <a:solidFill>
                <a:schemeClr val="accent5"/>
              </a:solidFill>
            </a:endParaRPr>
          </a:p>
        </p:txBody>
      </p:sp>
      <p:grpSp>
        <p:nvGrpSpPr>
          <p:cNvPr id="2087" name="Group 2086">
            <a:extLst>
              <a:ext uri="{FF2B5EF4-FFF2-40B4-BE49-F238E27FC236}">
                <a16:creationId xmlns:a16="http://schemas.microsoft.com/office/drawing/2014/main" id="{CC0DDD7C-02DC-975D-81D8-342FD71062EC}"/>
              </a:ext>
            </a:extLst>
          </p:cNvPr>
          <p:cNvGrpSpPr/>
          <p:nvPr/>
        </p:nvGrpSpPr>
        <p:grpSpPr>
          <a:xfrm>
            <a:off x="3533010" y="2760862"/>
            <a:ext cx="751787" cy="707009"/>
            <a:chOff x="6171420" y="2018585"/>
            <a:chExt cx="751787" cy="795759"/>
          </a:xfrm>
        </p:grpSpPr>
        <p:pic>
          <p:nvPicPr>
            <p:cNvPr id="35" name="Graphic 34" descr="Stopwatch with solid fill">
              <a:extLst>
                <a:ext uri="{FF2B5EF4-FFF2-40B4-BE49-F238E27FC236}">
                  <a16:creationId xmlns:a16="http://schemas.microsoft.com/office/drawing/2014/main" id="{58224D0A-F133-425C-1365-2DB7F2B361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6306414" y="2018585"/>
              <a:ext cx="481799" cy="481799"/>
            </a:xfrm>
            <a:prstGeom prst="rect">
              <a:avLst/>
            </a:prstGeom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3641CA0-BB7E-582E-CECD-C9C2DCDBA21D}"/>
                </a:ext>
              </a:extLst>
            </p:cNvPr>
            <p:cNvSpPr txBox="1"/>
            <p:nvPr/>
          </p:nvSpPr>
          <p:spPr>
            <a:xfrm>
              <a:off x="6171420" y="2552734"/>
              <a:ext cx="751787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050" b="1">
                  <a:solidFill>
                    <a:schemeClr val="bg1"/>
                  </a:solidFill>
                </a:rPr>
                <a:t>TIME</a:t>
              </a:r>
            </a:p>
          </p:txBody>
        </p:sp>
      </p:grpSp>
      <p:grpSp>
        <p:nvGrpSpPr>
          <p:cNvPr id="2088" name="Group 2087">
            <a:extLst>
              <a:ext uri="{FF2B5EF4-FFF2-40B4-BE49-F238E27FC236}">
                <a16:creationId xmlns:a16="http://schemas.microsoft.com/office/drawing/2014/main" id="{5BB454E8-2DB2-DF30-86FB-9C0A78BFA2B0}"/>
              </a:ext>
            </a:extLst>
          </p:cNvPr>
          <p:cNvGrpSpPr/>
          <p:nvPr/>
        </p:nvGrpSpPr>
        <p:grpSpPr>
          <a:xfrm>
            <a:off x="5844133" y="2760862"/>
            <a:ext cx="751787" cy="707009"/>
            <a:chOff x="7983233" y="2018585"/>
            <a:chExt cx="751787" cy="795759"/>
          </a:xfrm>
        </p:grpSpPr>
        <p:pic>
          <p:nvPicPr>
            <p:cNvPr id="40" name="Graphic 39" descr="Dollar with solid fill">
              <a:extLst>
                <a:ext uri="{FF2B5EF4-FFF2-40B4-BE49-F238E27FC236}">
                  <a16:creationId xmlns:a16="http://schemas.microsoft.com/office/drawing/2014/main" id="{C7AAC5EE-1ABC-1AB1-E876-F191552EF7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8118226" y="2018585"/>
              <a:ext cx="481798" cy="481800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5413614-85CA-F703-88DD-636671D2ECDF}"/>
                </a:ext>
              </a:extLst>
            </p:cNvPr>
            <p:cNvSpPr txBox="1"/>
            <p:nvPr/>
          </p:nvSpPr>
          <p:spPr>
            <a:xfrm>
              <a:off x="7983233" y="2552734"/>
              <a:ext cx="751787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050" b="1">
                  <a:solidFill>
                    <a:schemeClr val="bg1"/>
                  </a:solidFill>
                </a:rPr>
                <a:t>FEES</a:t>
              </a:r>
            </a:p>
          </p:txBody>
        </p:sp>
      </p:grpSp>
      <p:grpSp>
        <p:nvGrpSpPr>
          <p:cNvPr id="2089" name="Group 2088">
            <a:extLst>
              <a:ext uri="{FF2B5EF4-FFF2-40B4-BE49-F238E27FC236}">
                <a16:creationId xmlns:a16="http://schemas.microsoft.com/office/drawing/2014/main" id="{3AEEB028-9F98-39AC-7235-58F5BBA45FFB}"/>
              </a:ext>
            </a:extLst>
          </p:cNvPr>
          <p:cNvGrpSpPr/>
          <p:nvPr/>
        </p:nvGrpSpPr>
        <p:grpSpPr>
          <a:xfrm>
            <a:off x="6631005" y="2760863"/>
            <a:ext cx="1111876" cy="679664"/>
            <a:chOff x="8724607" y="2018585"/>
            <a:chExt cx="1111876" cy="764981"/>
          </a:xfrm>
        </p:grpSpPr>
        <p:pic>
          <p:nvPicPr>
            <p:cNvPr id="45" name="Graphic 44" descr="Customer review outline">
              <a:extLst>
                <a:ext uri="{FF2B5EF4-FFF2-40B4-BE49-F238E27FC236}">
                  <a16:creationId xmlns:a16="http://schemas.microsoft.com/office/drawing/2014/main" id="{BEE34C52-B638-FB0E-0F2D-7B39402BA50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9021880" y="2018585"/>
              <a:ext cx="481799" cy="519778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3EE4C8F-945A-6F52-A2E7-3032F098F862}"/>
                </a:ext>
              </a:extLst>
            </p:cNvPr>
            <p:cNvSpPr txBox="1"/>
            <p:nvPr/>
          </p:nvSpPr>
          <p:spPr>
            <a:xfrm>
              <a:off x="8724607" y="2552734"/>
              <a:ext cx="1111876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900" b="1">
                  <a:solidFill>
                    <a:schemeClr val="bg1"/>
                  </a:solidFill>
                </a:rPr>
                <a:t>RESOURCES</a:t>
              </a:r>
            </a:p>
          </p:txBody>
        </p:sp>
      </p:grpSp>
      <p:pic>
        <p:nvPicPr>
          <p:cNvPr id="50" name="Graphic 49" descr="Group brainstorm with solid fill">
            <a:extLst>
              <a:ext uri="{FF2B5EF4-FFF2-40B4-BE49-F238E27FC236}">
                <a16:creationId xmlns:a16="http://schemas.microsoft.com/office/drawing/2014/main" id="{C01A4C1F-F676-AF1E-4BB8-7C6D3E1DE0A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2702600" y="2760862"/>
            <a:ext cx="481798" cy="428065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062003B4-276D-122B-98AB-FC43AE5EDBAB}"/>
              </a:ext>
            </a:extLst>
          </p:cNvPr>
          <p:cNvSpPr txBox="1"/>
          <p:nvPr/>
        </p:nvSpPr>
        <p:spPr>
          <a:xfrm>
            <a:off x="2567606" y="3242275"/>
            <a:ext cx="751787" cy="2255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50" b="1">
                <a:solidFill>
                  <a:schemeClr val="bg1"/>
                </a:solidFill>
              </a:rPr>
              <a:t>SCOPES</a:t>
            </a:r>
          </a:p>
        </p:txBody>
      </p:sp>
      <p:sp>
        <p:nvSpPr>
          <p:cNvPr id="2059" name="Rectangle: Rounded Corners 2058">
            <a:extLst>
              <a:ext uri="{FF2B5EF4-FFF2-40B4-BE49-F238E27FC236}">
                <a16:creationId xmlns:a16="http://schemas.microsoft.com/office/drawing/2014/main" id="{5C1A6122-05C4-7585-E535-AB8CA2D81850}"/>
              </a:ext>
            </a:extLst>
          </p:cNvPr>
          <p:cNvSpPr/>
          <p:nvPr/>
        </p:nvSpPr>
        <p:spPr>
          <a:xfrm>
            <a:off x="2258351" y="5138816"/>
            <a:ext cx="7675298" cy="571961"/>
          </a:xfrm>
          <a:prstGeom prst="round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/>
              <a:t>COGNITIVE SERVICES (AI/ML)</a:t>
            </a:r>
          </a:p>
        </p:txBody>
      </p:sp>
      <p:sp>
        <p:nvSpPr>
          <p:cNvPr id="2058" name="Rectangle: Rounded Corners 2057">
            <a:extLst>
              <a:ext uri="{FF2B5EF4-FFF2-40B4-BE49-F238E27FC236}">
                <a16:creationId xmlns:a16="http://schemas.microsoft.com/office/drawing/2014/main" id="{E951DA65-5264-217B-CC33-4AB48ED299AA}"/>
              </a:ext>
            </a:extLst>
          </p:cNvPr>
          <p:cNvSpPr/>
          <p:nvPr/>
        </p:nvSpPr>
        <p:spPr>
          <a:xfrm>
            <a:off x="2238567" y="3916897"/>
            <a:ext cx="5552216" cy="900000"/>
          </a:xfrm>
          <a:prstGeom prst="roundRect">
            <a:avLst/>
          </a:prstGeom>
          <a:solidFill>
            <a:srgbClr val="397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CONTENT</a:t>
            </a:r>
            <a:endParaRPr lang="en-GB" sz="1600" b="1"/>
          </a:p>
        </p:txBody>
      </p:sp>
      <p:grpSp>
        <p:nvGrpSpPr>
          <p:cNvPr id="2068" name="Group 2067">
            <a:extLst>
              <a:ext uri="{FF2B5EF4-FFF2-40B4-BE49-F238E27FC236}">
                <a16:creationId xmlns:a16="http://schemas.microsoft.com/office/drawing/2014/main" id="{F5827982-C85F-7E9D-256E-2AEB23F588F2}"/>
              </a:ext>
            </a:extLst>
          </p:cNvPr>
          <p:cNvGrpSpPr/>
          <p:nvPr/>
        </p:nvGrpSpPr>
        <p:grpSpPr>
          <a:xfrm>
            <a:off x="3456474" y="4079588"/>
            <a:ext cx="818217" cy="581056"/>
            <a:chOff x="7772923" y="1587254"/>
            <a:chExt cx="1409378" cy="1044193"/>
          </a:xfrm>
        </p:grpSpPr>
        <p:pic>
          <p:nvPicPr>
            <p:cNvPr id="2069" name="Graphic 2068" descr="Syncing cloud with solid fill">
              <a:extLst>
                <a:ext uri="{FF2B5EF4-FFF2-40B4-BE49-F238E27FC236}">
                  <a16:creationId xmlns:a16="http://schemas.microsoft.com/office/drawing/2014/main" id="{9B6191BB-D494-E496-E969-8CE6EB1733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8159607" y="1587254"/>
              <a:ext cx="610714" cy="566089"/>
            </a:xfrm>
            <a:prstGeom prst="rect">
              <a:avLst/>
            </a:prstGeom>
          </p:spPr>
        </p:pic>
        <p:sp>
          <p:nvSpPr>
            <p:cNvPr id="2070" name="TextBox 2069">
              <a:extLst>
                <a:ext uri="{FF2B5EF4-FFF2-40B4-BE49-F238E27FC236}">
                  <a16:creationId xmlns:a16="http://schemas.microsoft.com/office/drawing/2014/main" id="{4097E3C6-539D-112B-6C46-1EFBA80A549B}"/>
                </a:ext>
              </a:extLst>
            </p:cNvPr>
            <p:cNvSpPr txBox="1"/>
            <p:nvPr/>
          </p:nvSpPr>
          <p:spPr>
            <a:xfrm>
              <a:off x="7772923" y="2213751"/>
              <a:ext cx="1409378" cy="4176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100" b="1">
                  <a:solidFill>
                    <a:schemeClr val="bg1"/>
                  </a:solidFill>
                </a:rPr>
                <a:t>DAM</a:t>
              </a:r>
            </a:p>
          </p:txBody>
        </p:sp>
      </p:grpSp>
      <p:grpSp>
        <p:nvGrpSpPr>
          <p:cNvPr id="2073" name="Group 2072">
            <a:extLst>
              <a:ext uri="{FF2B5EF4-FFF2-40B4-BE49-F238E27FC236}">
                <a16:creationId xmlns:a16="http://schemas.microsoft.com/office/drawing/2014/main" id="{D3217342-F3CE-1CF1-B145-BC4D9BE7E756}"/>
              </a:ext>
            </a:extLst>
          </p:cNvPr>
          <p:cNvGrpSpPr/>
          <p:nvPr/>
        </p:nvGrpSpPr>
        <p:grpSpPr>
          <a:xfrm>
            <a:off x="5820982" y="4094683"/>
            <a:ext cx="913047" cy="544428"/>
            <a:chOff x="7719880" y="1689179"/>
            <a:chExt cx="1572721" cy="978370"/>
          </a:xfrm>
        </p:grpSpPr>
        <p:pic>
          <p:nvPicPr>
            <p:cNvPr id="2074" name="Graphic 2073" descr="Checkmark with solid fill">
              <a:extLst>
                <a:ext uri="{FF2B5EF4-FFF2-40B4-BE49-F238E27FC236}">
                  <a16:creationId xmlns:a16="http://schemas.microsoft.com/office/drawing/2014/main" id="{64A7BB7D-B16C-05B5-B402-560B150698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8172257" y="1689179"/>
              <a:ext cx="610714" cy="566089"/>
            </a:xfrm>
            <a:prstGeom prst="rect">
              <a:avLst/>
            </a:prstGeom>
          </p:spPr>
        </p:pic>
        <p:sp>
          <p:nvSpPr>
            <p:cNvPr id="2075" name="TextBox 2074">
              <a:extLst>
                <a:ext uri="{FF2B5EF4-FFF2-40B4-BE49-F238E27FC236}">
                  <a16:creationId xmlns:a16="http://schemas.microsoft.com/office/drawing/2014/main" id="{21EE9B19-3ACD-A12D-1C88-F68602B9FD9D}"/>
                </a:ext>
              </a:extLst>
            </p:cNvPr>
            <p:cNvSpPr txBox="1"/>
            <p:nvPr/>
          </p:nvSpPr>
          <p:spPr>
            <a:xfrm>
              <a:off x="7719880" y="2298995"/>
              <a:ext cx="1572721" cy="36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900" b="1">
                  <a:solidFill>
                    <a:schemeClr val="bg1"/>
                  </a:solidFill>
                </a:rPr>
                <a:t>APPROVALS</a:t>
              </a:r>
            </a:p>
          </p:txBody>
        </p:sp>
      </p:grpSp>
      <p:sp>
        <p:nvSpPr>
          <p:cNvPr id="2057" name="Rectangle: Rounded Corners 2056">
            <a:extLst>
              <a:ext uri="{FF2B5EF4-FFF2-40B4-BE49-F238E27FC236}">
                <a16:creationId xmlns:a16="http://schemas.microsoft.com/office/drawing/2014/main" id="{22153761-232B-DB0B-A57E-528601AEE049}"/>
              </a:ext>
            </a:extLst>
          </p:cNvPr>
          <p:cNvSpPr/>
          <p:nvPr/>
        </p:nvSpPr>
        <p:spPr>
          <a:xfrm>
            <a:off x="2236073" y="1409701"/>
            <a:ext cx="5534925" cy="900000"/>
          </a:xfrm>
          <a:prstGeom prst="roundRect">
            <a:avLst/>
          </a:prstGeom>
          <a:solidFill>
            <a:srgbClr val="397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ACTIVATIONS</a:t>
            </a:r>
          </a:p>
        </p:txBody>
      </p:sp>
      <p:grpSp>
        <p:nvGrpSpPr>
          <p:cNvPr id="2052" name="Group 2051">
            <a:extLst>
              <a:ext uri="{FF2B5EF4-FFF2-40B4-BE49-F238E27FC236}">
                <a16:creationId xmlns:a16="http://schemas.microsoft.com/office/drawing/2014/main" id="{BFED408F-65FF-23F6-122A-028DE295E5FF}"/>
              </a:ext>
            </a:extLst>
          </p:cNvPr>
          <p:cNvGrpSpPr/>
          <p:nvPr/>
        </p:nvGrpSpPr>
        <p:grpSpPr>
          <a:xfrm>
            <a:off x="3423055" y="1601033"/>
            <a:ext cx="911489" cy="587218"/>
            <a:chOff x="7700961" y="1666868"/>
            <a:chExt cx="1570037" cy="1055266"/>
          </a:xfrm>
        </p:grpSpPr>
        <p:pic>
          <p:nvPicPr>
            <p:cNvPr id="2053" name="Graphic 2052" descr="Customer review outline">
              <a:extLst>
                <a:ext uri="{FF2B5EF4-FFF2-40B4-BE49-F238E27FC236}">
                  <a16:creationId xmlns:a16="http://schemas.microsoft.com/office/drawing/2014/main" id="{9B90DC41-3B3B-C504-31CA-97D603EAC8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8172257" y="1666868"/>
              <a:ext cx="610713" cy="610712"/>
            </a:xfrm>
            <a:prstGeom prst="rect">
              <a:avLst/>
            </a:prstGeom>
          </p:spPr>
        </p:pic>
        <p:sp>
          <p:nvSpPr>
            <p:cNvPr id="2054" name="TextBox 2053">
              <a:extLst>
                <a:ext uri="{FF2B5EF4-FFF2-40B4-BE49-F238E27FC236}">
                  <a16:creationId xmlns:a16="http://schemas.microsoft.com/office/drawing/2014/main" id="{F8265ADC-8618-E0A3-52DF-031A0212AE90}"/>
                </a:ext>
              </a:extLst>
            </p:cNvPr>
            <p:cNvSpPr txBox="1"/>
            <p:nvPr/>
          </p:nvSpPr>
          <p:spPr>
            <a:xfrm>
              <a:off x="7700961" y="2230726"/>
              <a:ext cx="1570037" cy="4914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700" b="1">
                  <a:solidFill>
                    <a:schemeClr val="bg1"/>
                  </a:solidFill>
                </a:rPr>
                <a:t>FIELD MANAGEMENT</a:t>
              </a:r>
            </a:p>
          </p:txBody>
        </p:sp>
      </p:grpSp>
      <p:grpSp>
        <p:nvGrpSpPr>
          <p:cNvPr id="2063" name="Group 2062">
            <a:extLst>
              <a:ext uri="{FF2B5EF4-FFF2-40B4-BE49-F238E27FC236}">
                <a16:creationId xmlns:a16="http://schemas.microsoft.com/office/drawing/2014/main" id="{5A7CA641-68DC-91AB-ED15-C344BB65CC72}"/>
              </a:ext>
            </a:extLst>
          </p:cNvPr>
          <p:cNvGrpSpPr/>
          <p:nvPr/>
        </p:nvGrpSpPr>
        <p:grpSpPr>
          <a:xfrm>
            <a:off x="5724815" y="1623190"/>
            <a:ext cx="1139054" cy="617975"/>
            <a:chOff x="7609989" y="1752995"/>
            <a:chExt cx="1962020" cy="1110539"/>
          </a:xfrm>
        </p:grpSpPr>
        <p:pic>
          <p:nvPicPr>
            <p:cNvPr id="2064" name="Graphic 2063" descr="Business Growth with solid fill">
              <a:extLst>
                <a:ext uri="{FF2B5EF4-FFF2-40B4-BE49-F238E27FC236}">
                  <a16:creationId xmlns:a16="http://schemas.microsoft.com/office/drawing/2014/main" id="{96A5E912-AF57-D96B-EDC8-EBF4A24B8B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>
            <a:xfrm>
              <a:off x="8334407" y="1752995"/>
              <a:ext cx="610712" cy="566087"/>
            </a:xfrm>
            <a:prstGeom prst="rect">
              <a:avLst/>
            </a:prstGeom>
          </p:spPr>
        </p:pic>
        <p:sp>
          <p:nvSpPr>
            <p:cNvPr id="2065" name="TextBox 2064">
              <a:extLst>
                <a:ext uri="{FF2B5EF4-FFF2-40B4-BE49-F238E27FC236}">
                  <a16:creationId xmlns:a16="http://schemas.microsoft.com/office/drawing/2014/main" id="{0781D4EB-36A7-F69A-8F65-00C096FC883B}"/>
                </a:ext>
              </a:extLst>
            </p:cNvPr>
            <p:cNvSpPr txBox="1"/>
            <p:nvPr/>
          </p:nvSpPr>
          <p:spPr>
            <a:xfrm>
              <a:off x="7609989" y="2310440"/>
              <a:ext cx="1962020" cy="5530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700" b="1">
                  <a:solidFill>
                    <a:schemeClr val="bg1"/>
                  </a:solidFill>
                </a:rPr>
                <a:t>LOCATION &amp; EVENT  INTELLIGENCE</a:t>
              </a:r>
            </a:p>
          </p:txBody>
        </p:sp>
      </p:grpSp>
      <p:grpSp>
        <p:nvGrpSpPr>
          <p:cNvPr id="2078" name="Group 2077">
            <a:extLst>
              <a:ext uri="{FF2B5EF4-FFF2-40B4-BE49-F238E27FC236}">
                <a16:creationId xmlns:a16="http://schemas.microsoft.com/office/drawing/2014/main" id="{C229B85B-C578-636B-FE31-9055C60C5323}"/>
              </a:ext>
            </a:extLst>
          </p:cNvPr>
          <p:cNvGrpSpPr/>
          <p:nvPr/>
        </p:nvGrpSpPr>
        <p:grpSpPr>
          <a:xfrm>
            <a:off x="2512794" y="1613448"/>
            <a:ext cx="818217" cy="533785"/>
            <a:chOff x="7772925" y="1689179"/>
            <a:chExt cx="1409378" cy="959243"/>
          </a:xfrm>
        </p:grpSpPr>
        <p:pic>
          <p:nvPicPr>
            <p:cNvPr id="2079" name="Graphic 2078" descr="Deciduous tree with solid fill">
              <a:extLst>
                <a:ext uri="{FF2B5EF4-FFF2-40B4-BE49-F238E27FC236}">
                  <a16:creationId xmlns:a16="http://schemas.microsoft.com/office/drawing/2014/main" id="{01C9F1B2-6D4E-BF91-8B73-0E4748F87C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8172257" y="1689179"/>
              <a:ext cx="610714" cy="566089"/>
            </a:xfrm>
            <a:prstGeom prst="rect">
              <a:avLst/>
            </a:prstGeom>
          </p:spPr>
        </p:pic>
        <p:sp>
          <p:nvSpPr>
            <p:cNvPr id="2080" name="TextBox 2079">
              <a:extLst>
                <a:ext uri="{FF2B5EF4-FFF2-40B4-BE49-F238E27FC236}">
                  <a16:creationId xmlns:a16="http://schemas.microsoft.com/office/drawing/2014/main" id="{163D5498-7164-9502-2152-206B4A495888}"/>
                </a:ext>
              </a:extLst>
            </p:cNvPr>
            <p:cNvSpPr txBox="1"/>
            <p:nvPr/>
          </p:nvSpPr>
          <p:spPr>
            <a:xfrm>
              <a:off x="7772925" y="2230726"/>
              <a:ext cx="1409378" cy="4176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100" b="1">
                  <a:solidFill>
                    <a:schemeClr val="bg1"/>
                  </a:solidFill>
                </a:rPr>
                <a:t>TRACE</a:t>
              </a:r>
              <a:endParaRPr lang="en-GB" sz="6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2083" name="Group 2082">
            <a:extLst>
              <a:ext uri="{FF2B5EF4-FFF2-40B4-BE49-F238E27FC236}">
                <a16:creationId xmlns:a16="http://schemas.microsoft.com/office/drawing/2014/main" id="{24654016-32FD-C275-24F8-01B427ADB2AF}"/>
              </a:ext>
            </a:extLst>
          </p:cNvPr>
          <p:cNvGrpSpPr/>
          <p:nvPr/>
        </p:nvGrpSpPr>
        <p:grpSpPr>
          <a:xfrm>
            <a:off x="6640261" y="1587678"/>
            <a:ext cx="1007868" cy="528959"/>
            <a:chOff x="7609587" y="1689179"/>
            <a:chExt cx="1736052" cy="950571"/>
          </a:xfrm>
        </p:grpSpPr>
        <p:pic>
          <p:nvPicPr>
            <p:cNvPr id="2084" name="Graphic 2083" descr="Morse Code with solid fill">
              <a:extLst>
                <a:ext uri="{FF2B5EF4-FFF2-40B4-BE49-F238E27FC236}">
                  <a16:creationId xmlns:a16="http://schemas.microsoft.com/office/drawing/2014/main" id="{9D4BA507-D5C3-B840-3B61-9E414289BD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/>
            <a:stretch/>
          </p:blipFill>
          <p:spPr>
            <a:xfrm>
              <a:off x="8206312" y="1689179"/>
              <a:ext cx="542599" cy="566086"/>
            </a:xfrm>
            <a:prstGeom prst="rect">
              <a:avLst/>
            </a:prstGeom>
          </p:spPr>
        </p:pic>
        <p:sp>
          <p:nvSpPr>
            <p:cNvPr id="2085" name="TextBox 2084">
              <a:extLst>
                <a:ext uri="{FF2B5EF4-FFF2-40B4-BE49-F238E27FC236}">
                  <a16:creationId xmlns:a16="http://schemas.microsoft.com/office/drawing/2014/main" id="{D82E6132-E750-A688-99EB-F8DEF236A3FE}"/>
                </a:ext>
              </a:extLst>
            </p:cNvPr>
            <p:cNvSpPr txBox="1"/>
            <p:nvPr/>
          </p:nvSpPr>
          <p:spPr>
            <a:xfrm>
              <a:off x="7609587" y="2246624"/>
              <a:ext cx="1736052" cy="3931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000" b="1" err="1">
                  <a:solidFill>
                    <a:schemeClr val="bg1"/>
                  </a:solidFill>
                </a:rPr>
                <a:t>rTAG</a:t>
              </a:r>
              <a:endParaRPr lang="en-GB" sz="1000" b="1">
                <a:solidFill>
                  <a:schemeClr val="bg1"/>
                </a:solidFill>
              </a:endParaRPr>
            </a:p>
          </p:txBody>
        </p:sp>
      </p:grpSp>
      <p:sp>
        <p:nvSpPr>
          <p:cNvPr id="2105" name="Arrow: Up-Down 2104">
            <a:extLst>
              <a:ext uri="{FF2B5EF4-FFF2-40B4-BE49-F238E27FC236}">
                <a16:creationId xmlns:a16="http://schemas.microsoft.com/office/drawing/2014/main" id="{42E00314-AFFD-61C1-9C91-F49B7F979C8F}"/>
              </a:ext>
            </a:extLst>
          </p:cNvPr>
          <p:cNvSpPr/>
          <p:nvPr/>
        </p:nvSpPr>
        <p:spPr>
          <a:xfrm rot="18363007">
            <a:off x="7799760" y="1618388"/>
            <a:ext cx="335965" cy="1083183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109" name="Graphic 2108" descr="Artificial Intelligence with solid fill">
            <a:extLst>
              <a:ext uri="{FF2B5EF4-FFF2-40B4-BE49-F238E27FC236}">
                <a16:creationId xmlns:a16="http://schemas.microsoft.com/office/drawing/2014/main" id="{028D1973-5A1D-FD86-8804-6A3C8F6DEDE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>
            <a:off x="2796409" y="4094683"/>
            <a:ext cx="315008" cy="315008"/>
          </a:xfrm>
          <a:prstGeom prst="rect">
            <a:avLst/>
          </a:prstGeom>
        </p:spPr>
      </p:pic>
      <p:sp>
        <p:nvSpPr>
          <p:cNvPr id="2110" name="TextBox 2109">
            <a:extLst>
              <a:ext uri="{FF2B5EF4-FFF2-40B4-BE49-F238E27FC236}">
                <a16:creationId xmlns:a16="http://schemas.microsoft.com/office/drawing/2014/main" id="{104F6F2A-4068-8FC6-7F93-8B2FC283CD62}"/>
              </a:ext>
            </a:extLst>
          </p:cNvPr>
          <p:cNvSpPr txBox="1"/>
          <p:nvPr/>
        </p:nvSpPr>
        <p:spPr>
          <a:xfrm>
            <a:off x="2284292" y="4439861"/>
            <a:ext cx="136200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00" b="1">
                <a:solidFill>
                  <a:schemeClr val="bg1"/>
                </a:solidFill>
              </a:rPr>
              <a:t>GENERATIVE AI</a:t>
            </a:r>
          </a:p>
        </p:txBody>
      </p:sp>
      <p:sp>
        <p:nvSpPr>
          <p:cNvPr id="3" name="Arrow: Up-Down 2">
            <a:extLst>
              <a:ext uri="{FF2B5EF4-FFF2-40B4-BE49-F238E27FC236}">
                <a16:creationId xmlns:a16="http://schemas.microsoft.com/office/drawing/2014/main" id="{B758B7BA-2CE3-5D84-60BE-01827A210970}"/>
              </a:ext>
            </a:extLst>
          </p:cNvPr>
          <p:cNvSpPr/>
          <p:nvPr/>
        </p:nvSpPr>
        <p:spPr>
          <a:xfrm rot="16200000">
            <a:off x="7809695" y="2730074"/>
            <a:ext cx="335965" cy="822980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Arrow: Up-Down 4">
            <a:extLst>
              <a:ext uri="{FF2B5EF4-FFF2-40B4-BE49-F238E27FC236}">
                <a16:creationId xmlns:a16="http://schemas.microsoft.com/office/drawing/2014/main" id="{9B36B889-8F66-DFFB-6DB0-7602A3C9373F}"/>
              </a:ext>
            </a:extLst>
          </p:cNvPr>
          <p:cNvSpPr/>
          <p:nvPr/>
        </p:nvSpPr>
        <p:spPr>
          <a:xfrm rot="14131900">
            <a:off x="7750923" y="3551401"/>
            <a:ext cx="335965" cy="953432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Arrow: Up-Down 5">
            <a:extLst>
              <a:ext uri="{FF2B5EF4-FFF2-40B4-BE49-F238E27FC236}">
                <a16:creationId xmlns:a16="http://schemas.microsoft.com/office/drawing/2014/main" id="{F50D2AA5-F92B-C60F-5A85-7D52FE27630B}"/>
              </a:ext>
            </a:extLst>
          </p:cNvPr>
          <p:cNvSpPr/>
          <p:nvPr/>
        </p:nvSpPr>
        <p:spPr>
          <a:xfrm rot="10800000">
            <a:off x="8707372" y="3863465"/>
            <a:ext cx="335965" cy="1655910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Arrow: Up-Down 6">
            <a:extLst>
              <a:ext uri="{FF2B5EF4-FFF2-40B4-BE49-F238E27FC236}">
                <a16:creationId xmlns:a16="http://schemas.microsoft.com/office/drawing/2014/main" id="{0A179110-C7C1-2B5C-2CE5-377D3D4B7A69}"/>
              </a:ext>
            </a:extLst>
          </p:cNvPr>
          <p:cNvSpPr/>
          <p:nvPr/>
        </p:nvSpPr>
        <p:spPr>
          <a:xfrm>
            <a:off x="4789577" y="2038489"/>
            <a:ext cx="335965" cy="831933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Arrow: Up-Down 7">
            <a:extLst>
              <a:ext uri="{FF2B5EF4-FFF2-40B4-BE49-F238E27FC236}">
                <a16:creationId xmlns:a16="http://schemas.microsoft.com/office/drawing/2014/main" id="{A6D02EEE-4957-E79D-E37F-06B140A21798}"/>
              </a:ext>
            </a:extLst>
          </p:cNvPr>
          <p:cNvSpPr/>
          <p:nvPr/>
        </p:nvSpPr>
        <p:spPr>
          <a:xfrm>
            <a:off x="4772629" y="3292087"/>
            <a:ext cx="335965" cy="852408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Arrow: Up-Down 8">
            <a:extLst>
              <a:ext uri="{FF2B5EF4-FFF2-40B4-BE49-F238E27FC236}">
                <a16:creationId xmlns:a16="http://schemas.microsoft.com/office/drawing/2014/main" id="{E1FAA33E-B03A-32FB-DBF0-119228977F5E}"/>
              </a:ext>
            </a:extLst>
          </p:cNvPr>
          <p:cNvSpPr/>
          <p:nvPr/>
        </p:nvSpPr>
        <p:spPr>
          <a:xfrm>
            <a:off x="2263969" y="2015736"/>
            <a:ext cx="335965" cy="2190671"/>
          </a:xfrm>
          <a:prstGeom prst="upDownArrow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5620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B063D7F-8931-03FE-EA3A-1B4EE743F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</a:t>
            </a:r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AA9B756-059D-AD49-0767-BA7CF1DD45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409700"/>
            <a:ext cx="5269319" cy="4381499"/>
          </a:xfrm>
        </p:spPr>
        <p:txBody>
          <a:bodyPr/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0" i="0">
                <a:effectLst/>
              </a:rPr>
              <a:t>Momentum gathers meaningful post-event metrics by unifying data from different sources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/>
              <a:t>Information is either </a:t>
            </a:r>
            <a:r>
              <a:rPr lang="en-US" sz="2400" b="1"/>
              <a:t>not available </a:t>
            </a:r>
            <a:r>
              <a:rPr lang="en-US" sz="2400"/>
              <a:t>or </a:t>
            </a:r>
            <a:r>
              <a:rPr lang="en-US" sz="2400" b="1"/>
              <a:t>not shared in a timely manner.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 b="1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/>
              <a:t>This limits Momentums spend and agility when generating insights.</a:t>
            </a:r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FAF9F0-4F63-CDCE-1D77-5EE7247F37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6" name="Picture 5" descr="House of cards">
            <a:extLst>
              <a:ext uri="{FF2B5EF4-FFF2-40B4-BE49-F238E27FC236}">
                <a16:creationId xmlns:a16="http://schemas.microsoft.com/office/drawing/2014/main" id="{82A67FDF-A0E7-A447-AAC1-F76415767A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9215" y="10"/>
            <a:ext cx="5962785" cy="6857990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0611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4291E4E-7A28-5C57-742F-87B6FAAD4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rial Black"/>
              </a:rPr>
              <a:t>UNIFIED EXPERIENCE DATA ECOSYSTEM 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40D572-BEF4-4FBA-FC0B-9DE1D2CDA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A7D70B-BA5B-454D-9E9C-85AA311AB73C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39419ED-5F27-FEFE-34EB-834A61C3AAB6}"/>
              </a:ext>
            </a:extLst>
          </p:cNvPr>
          <p:cNvSpPr txBox="1"/>
          <p:nvPr/>
        </p:nvSpPr>
        <p:spPr>
          <a:xfrm>
            <a:off x="277567" y="1480941"/>
            <a:ext cx="1814363" cy="185166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GB" sz="1000" b="1" i="1">
                <a:effectLst/>
                <a:latin typeface="Momo Neue"/>
                <a:ea typeface="Yu Mincho"/>
                <a:cs typeface="Arial"/>
              </a:rPr>
              <a:t>Unified Experience </a:t>
            </a:r>
            <a:r>
              <a:rPr lang="en-GB" sz="1000" b="1" i="1">
                <a:latin typeface="Momo Neue"/>
                <a:ea typeface="Yu Mincho"/>
                <a:cs typeface="Arial"/>
              </a:rPr>
              <a:t>Platform </a:t>
            </a:r>
            <a:r>
              <a:rPr lang="en-GB" sz="1000" b="1" i="1">
                <a:effectLst/>
                <a:latin typeface="Momo Neue"/>
                <a:ea typeface="Yu Mincho"/>
                <a:cs typeface="Arial"/>
              </a:rPr>
              <a:t>(</a:t>
            </a:r>
            <a:r>
              <a:rPr lang="en-GB" sz="1000" b="1" i="1">
                <a:latin typeface="Momo Neue"/>
                <a:ea typeface="Yu Mincho"/>
                <a:cs typeface="Arial"/>
              </a:rPr>
              <a:t>UXP</a:t>
            </a:r>
            <a:r>
              <a:rPr lang="en-GB" sz="1000" b="1" i="1">
                <a:effectLst/>
                <a:latin typeface="Momo Neue"/>
                <a:ea typeface="Yu Mincho"/>
                <a:cs typeface="Arial"/>
              </a:rPr>
              <a:t>) and Input Procedure</a:t>
            </a:r>
            <a:br>
              <a:rPr lang="en-GB" sz="1000" i="1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</a:br>
            <a:r>
              <a:rPr lang="en-GB" sz="1000" i="1">
                <a:effectLst/>
                <a:latin typeface="Momo Neue"/>
                <a:ea typeface="Yu Mincho"/>
                <a:cs typeface="Arial"/>
              </a:rPr>
              <a:t>A front-end Input application and organization-wide process/system for collecting Activation Details and information: Activation Name, Activation Date, Activation Client, and Activation Location.</a:t>
            </a:r>
            <a:r>
              <a:rPr lang="en-GB" sz="1000" i="1">
                <a:latin typeface="Momo Neue"/>
                <a:ea typeface="Yu Mincho"/>
                <a:cs typeface="Arial"/>
              </a:rPr>
              <a:t> </a:t>
            </a:r>
            <a:endParaRPr lang="en-GB" sz="1000" i="1"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</p:txBody>
      </p:sp>
      <p:pic>
        <p:nvPicPr>
          <p:cNvPr id="12" name="Picture 11" descr="Shape&#10;&#10;Description automatically generated with low confidence">
            <a:extLst>
              <a:ext uri="{FF2B5EF4-FFF2-40B4-BE49-F238E27FC236}">
                <a16:creationId xmlns:a16="http://schemas.microsoft.com/office/drawing/2014/main" id="{3325BF65-8019-96FA-CDF5-AF1C4467263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44065" y="1516411"/>
            <a:ext cx="1420777" cy="958957"/>
          </a:xfrm>
          <a:prstGeom prst="rect">
            <a:avLst/>
          </a:prstGeom>
        </p:spPr>
      </p:pic>
      <p:pic>
        <p:nvPicPr>
          <p:cNvPr id="26" name="Picture 25" descr="Shape&#10;&#10;Description automatically generated with low confidence">
            <a:extLst>
              <a:ext uri="{FF2B5EF4-FFF2-40B4-BE49-F238E27FC236}">
                <a16:creationId xmlns:a16="http://schemas.microsoft.com/office/drawing/2014/main" id="{5387951C-15AC-85E6-90F0-F1BEB18637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41435" y="3597752"/>
            <a:ext cx="834264" cy="1182597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76AD3EBF-BD94-733B-5604-8C190D17F7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23350" y="2823646"/>
            <a:ext cx="849883" cy="849883"/>
          </a:xfrm>
          <a:prstGeom prst="rect">
            <a:avLst/>
          </a:prstGeom>
        </p:spPr>
      </p:pic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4114827-8961-436E-D983-45D92B0E8600}"/>
              </a:ext>
            </a:extLst>
          </p:cNvPr>
          <p:cNvCxnSpPr>
            <a:cxnSpLocks/>
          </p:cNvCxnSpPr>
          <p:nvPr/>
        </p:nvCxnSpPr>
        <p:spPr>
          <a:xfrm>
            <a:off x="3074483" y="2456995"/>
            <a:ext cx="253066" cy="306954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21A86C4-9CF9-72E0-6EE0-A63755BBA5D7}"/>
              </a:ext>
            </a:extLst>
          </p:cNvPr>
          <p:cNvGrpSpPr/>
          <p:nvPr/>
        </p:nvGrpSpPr>
        <p:grpSpPr>
          <a:xfrm>
            <a:off x="6061173" y="2010611"/>
            <a:ext cx="1686959" cy="2006565"/>
            <a:chOff x="6170899" y="2616435"/>
            <a:chExt cx="1161066" cy="1381038"/>
          </a:xfrm>
        </p:grpSpPr>
        <p:pic>
          <p:nvPicPr>
            <p:cNvPr id="9" name="Graphic 8" descr="Database outline">
              <a:extLst>
                <a:ext uri="{FF2B5EF4-FFF2-40B4-BE49-F238E27FC236}">
                  <a16:creationId xmlns:a16="http://schemas.microsoft.com/office/drawing/2014/main" id="{C3EE5FEE-6148-F4A4-81C5-F6A6B5A3C5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193036" y="2880681"/>
              <a:ext cx="1116792" cy="1116792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BAB3C68-3AA6-4F99-26A0-71C20742B233}"/>
                </a:ext>
              </a:extLst>
            </p:cNvPr>
            <p:cNvSpPr txBox="1"/>
            <p:nvPr/>
          </p:nvSpPr>
          <p:spPr>
            <a:xfrm>
              <a:off x="6170899" y="2616435"/>
              <a:ext cx="1161066" cy="360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i="1">
                  <a:effectLst/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Unified Experience Data </a:t>
              </a:r>
            </a:p>
          </p:txBody>
        </p:sp>
      </p:grpSp>
      <p:grpSp>
        <p:nvGrpSpPr>
          <p:cNvPr id="17423" name="Group 17422">
            <a:extLst>
              <a:ext uri="{FF2B5EF4-FFF2-40B4-BE49-F238E27FC236}">
                <a16:creationId xmlns:a16="http://schemas.microsoft.com/office/drawing/2014/main" id="{C704B168-6437-02EE-0E2C-CE6E57A38E9C}"/>
              </a:ext>
            </a:extLst>
          </p:cNvPr>
          <p:cNvGrpSpPr/>
          <p:nvPr/>
        </p:nvGrpSpPr>
        <p:grpSpPr>
          <a:xfrm>
            <a:off x="9284450" y="2377336"/>
            <a:ext cx="2129470" cy="1742502"/>
            <a:chOff x="8528364" y="3352909"/>
            <a:chExt cx="2474516" cy="2024846"/>
          </a:xfrm>
        </p:grpSpPr>
        <p:sp>
          <p:nvSpPr>
            <p:cNvPr id="17422" name="Rectangle: Rounded Corners 17421">
              <a:extLst>
                <a:ext uri="{FF2B5EF4-FFF2-40B4-BE49-F238E27FC236}">
                  <a16:creationId xmlns:a16="http://schemas.microsoft.com/office/drawing/2014/main" id="{89D67E92-FC35-9BEB-A0CF-8C57A75FACFA}"/>
                </a:ext>
              </a:extLst>
            </p:cNvPr>
            <p:cNvSpPr/>
            <p:nvPr/>
          </p:nvSpPr>
          <p:spPr>
            <a:xfrm>
              <a:off x="8528364" y="3352909"/>
              <a:ext cx="2474516" cy="2024846"/>
            </a:xfrm>
            <a:prstGeom prst="round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7418" name="Picture 10">
              <a:extLst>
                <a:ext uri="{FF2B5EF4-FFF2-40B4-BE49-F238E27FC236}">
                  <a16:creationId xmlns:a16="http://schemas.microsoft.com/office/drawing/2014/main" id="{74F9D913-2DE7-A74C-BD7E-5BEC9A231D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64372" y="3533587"/>
              <a:ext cx="1817679" cy="18176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0190B1A9-2372-4A5B-0046-DB0DAD00EFAF}"/>
              </a:ext>
            </a:extLst>
          </p:cNvPr>
          <p:cNvCxnSpPr>
            <a:cxnSpLocks/>
          </p:cNvCxnSpPr>
          <p:nvPr/>
        </p:nvCxnSpPr>
        <p:spPr>
          <a:xfrm flipH="1">
            <a:off x="3101982" y="3706278"/>
            <a:ext cx="225567" cy="292548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623A803B-CE6B-E436-2035-367BFAC31920}"/>
              </a:ext>
            </a:extLst>
          </p:cNvPr>
          <p:cNvCxnSpPr>
            <a:cxnSpLocks/>
          </p:cNvCxnSpPr>
          <p:nvPr/>
        </p:nvCxnSpPr>
        <p:spPr>
          <a:xfrm flipH="1">
            <a:off x="4148594" y="3269249"/>
            <a:ext cx="2052689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410" name="Straight Arrow Connector 17409">
            <a:extLst>
              <a:ext uri="{FF2B5EF4-FFF2-40B4-BE49-F238E27FC236}">
                <a16:creationId xmlns:a16="http://schemas.microsoft.com/office/drawing/2014/main" id="{B5C6D99A-4CE1-D8F4-8B92-74DC5EAFF035}"/>
              </a:ext>
            </a:extLst>
          </p:cNvPr>
          <p:cNvCxnSpPr>
            <a:cxnSpLocks/>
          </p:cNvCxnSpPr>
          <p:nvPr/>
        </p:nvCxnSpPr>
        <p:spPr>
          <a:xfrm>
            <a:off x="7487107" y="3295617"/>
            <a:ext cx="912614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17427" name="Group 17426">
            <a:extLst>
              <a:ext uri="{FF2B5EF4-FFF2-40B4-BE49-F238E27FC236}">
                <a16:creationId xmlns:a16="http://schemas.microsoft.com/office/drawing/2014/main" id="{1E766FC4-9957-1117-EC6E-5E0FCA2A2B45}"/>
              </a:ext>
            </a:extLst>
          </p:cNvPr>
          <p:cNvGrpSpPr/>
          <p:nvPr/>
        </p:nvGrpSpPr>
        <p:grpSpPr>
          <a:xfrm>
            <a:off x="9284450" y="801565"/>
            <a:ext cx="2129471" cy="1396373"/>
            <a:chOff x="8528364" y="1569897"/>
            <a:chExt cx="2474516" cy="1622632"/>
          </a:xfrm>
        </p:grpSpPr>
        <p:sp>
          <p:nvSpPr>
            <p:cNvPr id="17425" name="Rectangle: Rounded Corners 17424">
              <a:extLst>
                <a:ext uri="{FF2B5EF4-FFF2-40B4-BE49-F238E27FC236}">
                  <a16:creationId xmlns:a16="http://schemas.microsoft.com/office/drawing/2014/main" id="{C370189D-DA73-3188-BA4E-9FAF86CD1054}"/>
                </a:ext>
              </a:extLst>
            </p:cNvPr>
            <p:cNvSpPr/>
            <p:nvPr/>
          </p:nvSpPr>
          <p:spPr>
            <a:xfrm>
              <a:off x="8528364" y="1569897"/>
              <a:ext cx="2474516" cy="1622632"/>
            </a:xfrm>
            <a:prstGeom prst="round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7421" name="Picture 12" descr="Events Calendar Year View Demo | Timely">
              <a:extLst>
                <a:ext uri="{FF2B5EF4-FFF2-40B4-BE49-F238E27FC236}">
                  <a16:creationId xmlns:a16="http://schemas.microsoft.com/office/drawing/2014/main" id="{6A48D35B-D24F-4BE8-1B47-674E8979F80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727237" y="1833430"/>
              <a:ext cx="2146514" cy="1270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431" name="Group 17430">
            <a:extLst>
              <a:ext uri="{FF2B5EF4-FFF2-40B4-BE49-F238E27FC236}">
                <a16:creationId xmlns:a16="http://schemas.microsoft.com/office/drawing/2014/main" id="{CA3620E5-69C9-ACC1-B290-CC32E21C6ED3}"/>
              </a:ext>
            </a:extLst>
          </p:cNvPr>
          <p:cNvGrpSpPr/>
          <p:nvPr/>
        </p:nvGrpSpPr>
        <p:grpSpPr>
          <a:xfrm>
            <a:off x="6168827" y="5051843"/>
            <a:ext cx="1461497" cy="838446"/>
            <a:chOff x="5814677" y="1458292"/>
            <a:chExt cx="2299862" cy="1319407"/>
          </a:xfrm>
        </p:grpSpPr>
        <p:pic>
          <p:nvPicPr>
            <p:cNvPr id="17428" name="Picture 14" descr="What are Azure Cognitive Services? - Azure Cognitive ...">
              <a:extLst>
                <a:ext uri="{FF2B5EF4-FFF2-40B4-BE49-F238E27FC236}">
                  <a16:creationId xmlns:a16="http://schemas.microsoft.com/office/drawing/2014/main" id="{5DD034A0-A75A-55D2-C617-D7DD83EDBBC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80443" y="1458292"/>
              <a:ext cx="1757651" cy="1054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430" name="TextBox 17429">
              <a:extLst>
                <a:ext uri="{FF2B5EF4-FFF2-40B4-BE49-F238E27FC236}">
                  <a16:creationId xmlns:a16="http://schemas.microsoft.com/office/drawing/2014/main" id="{11B95293-8575-A7E7-5EE6-91CDE2F8EBA0}"/>
                </a:ext>
              </a:extLst>
            </p:cNvPr>
            <p:cNvSpPr txBox="1"/>
            <p:nvPr/>
          </p:nvSpPr>
          <p:spPr>
            <a:xfrm>
              <a:off x="5814677" y="2447425"/>
              <a:ext cx="2299862" cy="330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1100" b="1" i="1">
                  <a:effectLst/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Cognitive </a:t>
              </a:r>
              <a:r>
                <a:rPr lang="en-GB" sz="1100" b="1" i="1"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S</a:t>
              </a:r>
              <a:r>
                <a:rPr lang="en-GB" sz="1100" b="1" i="1">
                  <a:effectLst/>
                  <a:latin typeface="+mj-lt"/>
                  <a:ea typeface="Calibri" panose="020F0502020204030204" pitchFamily="34" charset="0"/>
                  <a:cs typeface="Arial" panose="020B0604020202020204" pitchFamily="34" charset="0"/>
                </a:rPr>
                <a:t>ervices</a:t>
              </a:r>
            </a:p>
          </p:txBody>
        </p:sp>
      </p:grpSp>
      <p:pic>
        <p:nvPicPr>
          <p:cNvPr id="17436" name="Picture 17435" descr="Logo&#10;&#10;Description automatically generated">
            <a:extLst>
              <a:ext uri="{FF2B5EF4-FFF2-40B4-BE49-F238E27FC236}">
                <a16:creationId xmlns:a16="http://schemas.microsoft.com/office/drawing/2014/main" id="{79383673-DEAD-737F-5368-FFC6E724D069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6062" y="3063385"/>
            <a:ext cx="527029" cy="527282"/>
          </a:xfrm>
          <a:prstGeom prst="rect">
            <a:avLst/>
          </a:prstGeom>
        </p:spPr>
      </p:pic>
      <p:grpSp>
        <p:nvGrpSpPr>
          <p:cNvPr id="17445" name="Group 17444">
            <a:extLst>
              <a:ext uri="{FF2B5EF4-FFF2-40B4-BE49-F238E27FC236}">
                <a16:creationId xmlns:a16="http://schemas.microsoft.com/office/drawing/2014/main" id="{F8D07C16-7D66-DB07-82D2-3C0B5AF69DDF}"/>
              </a:ext>
            </a:extLst>
          </p:cNvPr>
          <p:cNvGrpSpPr/>
          <p:nvPr/>
        </p:nvGrpSpPr>
        <p:grpSpPr>
          <a:xfrm>
            <a:off x="9266543" y="4344799"/>
            <a:ext cx="2147377" cy="1757155"/>
            <a:chOff x="8528364" y="4728927"/>
            <a:chExt cx="2147377" cy="1757155"/>
          </a:xfrm>
        </p:grpSpPr>
        <p:sp>
          <p:nvSpPr>
            <p:cNvPr id="17442" name="Rectangle: Rounded Corners 17441">
              <a:extLst>
                <a:ext uri="{FF2B5EF4-FFF2-40B4-BE49-F238E27FC236}">
                  <a16:creationId xmlns:a16="http://schemas.microsoft.com/office/drawing/2014/main" id="{B0D7E532-B4AD-7476-90F8-042582717ED1}"/>
                </a:ext>
              </a:extLst>
            </p:cNvPr>
            <p:cNvSpPr/>
            <p:nvPr/>
          </p:nvSpPr>
          <p:spPr>
            <a:xfrm>
              <a:off x="8528364" y="4728927"/>
              <a:ext cx="2147377" cy="1757155"/>
            </a:xfrm>
            <a:prstGeom prst="round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7444" name="Picture 18" descr="Premium Vector | Flat chat bot for web design flat isometric vector  illustration artificial intelligence">
              <a:extLst>
                <a:ext uri="{FF2B5EF4-FFF2-40B4-BE49-F238E27FC236}">
                  <a16:creationId xmlns:a16="http://schemas.microsoft.com/office/drawing/2014/main" id="{8A00B606-9EDC-C20F-82EA-2EEB8C9320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23205" y="4969158"/>
              <a:ext cx="1786383" cy="1477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446" name="TextBox 17445">
            <a:extLst>
              <a:ext uri="{FF2B5EF4-FFF2-40B4-BE49-F238E27FC236}">
                <a16:creationId xmlns:a16="http://schemas.microsoft.com/office/drawing/2014/main" id="{842868ED-AD25-1D88-9F7C-D4D598EA9168}"/>
              </a:ext>
            </a:extLst>
          </p:cNvPr>
          <p:cNvSpPr txBox="1"/>
          <p:nvPr/>
        </p:nvSpPr>
        <p:spPr>
          <a:xfrm>
            <a:off x="9393503" y="810702"/>
            <a:ext cx="19579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i="1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ctivation Schedule</a:t>
            </a:r>
          </a:p>
        </p:txBody>
      </p:sp>
      <p:sp>
        <p:nvSpPr>
          <p:cNvPr id="17447" name="TextBox 17446">
            <a:extLst>
              <a:ext uri="{FF2B5EF4-FFF2-40B4-BE49-F238E27FC236}">
                <a16:creationId xmlns:a16="http://schemas.microsoft.com/office/drawing/2014/main" id="{F462FB9B-73ED-EE43-B2FE-95839315AD8A}"/>
              </a:ext>
            </a:extLst>
          </p:cNvPr>
          <p:cNvSpPr txBox="1"/>
          <p:nvPr/>
        </p:nvSpPr>
        <p:spPr>
          <a:xfrm>
            <a:off x="9376736" y="2356552"/>
            <a:ext cx="19579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i="1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ctivation Insights</a:t>
            </a:r>
          </a:p>
        </p:txBody>
      </p:sp>
      <p:sp>
        <p:nvSpPr>
          <p:cNvPr id="17448" name="TextBox 17447">
            <a:extLst>
              <a:ext uri="{FF2B5EF4-FFF2-40B4-BE49-F238E27FC236}">
                <a16:creationId xmlns:a16="http://schemas.microsoft.com/office/drawing/2014/main" id="{5571E017-C427-AA6C-61E9-7C6FD8BD94BB}"/>
              </a:ext>
            </a:extLst>
          </p:cNvPr>
          <p:cNvSpPr txBox="1"/>
          <p:nvPr/>
        </p:nvSpPr>
        <p:spPr>
          <a:xfrm>
            <a:off x="9356793" y="4344799"/>
            <a:ext cx="19579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i="1">
                <a:latin typeface="+mj-lt"/>
                <a:cs typeface="Arial" panose="020B0604020202020204" pitchFamily="34" charset="0"/>
              </a:rPr>
              <a:t>Conversational Insights</a:t>
            </a:r>
          </a:p>
        </p:txBody>
      </p:sp>
      <p:cxnSp>
        <p:nvCxnSpPr>
          <p:cNvPr id="17449" name="Straight Arrow Connector 17448">
            <a:extLst>
              <a:ext uri="{FF2B5EF4-FFF2-40B4-BE49-F238E27FC236}">
                <a16:creationId xmlns:a16="http://schemas.microsoft.com/office/drawing/2014/main" id="{976D89D6-317D-22C9-529B-41AB3294C1C4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6899576" y="4017176"/>
            <a:ext cx="5077" cy="902523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7462" name="Left Brace 17461">
            <a:extLst>
              <a:ext uri="{FF2B5EF4-FFF2-40B4-BE49-F238E27FC236}">
                <a16:creationId xmlns:a16="http://schemas.microsoft.com/office/drawing/2014/main" id="{F27AD8AF-A1B7-EC92-B4A3-0C47BA071C4D}"/>
              </a:ext>
            </a:extLst>
          </p:cNvPr>
          <p:cNvSpPr/>
          <p:nvPr/>
        </p:nvSpPr>
        <p:spPr>
          <a:xfrm>
            <a:off x="8430391" y="1506944"/>
            <a:ext cx="623887" cy="3640164"/>
          </a:xfrm>
          <a:prstGeom prst="leftBrace">
            <a:avLst>
              <a:gd name="adj1" fmla="val 8333"/>
              <a:gd name="adj2" fmla="val 49124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970897-BA48-A608-693C-C026A2C0E96E}"/>
              </a:ext>
            </a:extLst>
          </p:cNvPr>
          <p:cNvSpPr txBox="1"/>
          <p:nvPr/>
        </p:nvSpPr>
        <p:spPr>
          <a:xfrm>
            <a:off x="277567" y="3998350"/>
            <a:ext cx="1814363" cy="18516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1000"/>
              </a:spcAft>
            </a:pPr>
            <a:r>
              <a:rPr lang="en-GB" sz="1000" b="1" i="1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  <a:t>Field Management</a:t>
            </a:r>
            <a:br>
              <a:rPr lang="en-GB" sz="1000" i="1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</a:br>
            <a:r>
              <a:rPr lang="en-GB" sz="1000" i="1">
                <a:effectLst/>
                <a:latin typeface="Momo Neue"/>
                <a:ea typeface="Yu Mincho" panose="02020400000000000000" pitchFamily="18" charset="-128"/>
                <a:cs typeface="Arial" panose="020B0604020202020204" pitchFamily="34" charset="0"/>
              </a:rPr>
              <a:t>Portfolio-wide standardized system for managing </a:t>
            </a:r>
            <a:r>
              <a:rPr lang="en-GB" sz="1000" b="0" i="1">
                <a:solidFill>
                  <a:srgbClr val="374151"/>
                </a:solidFill>
                <a:effectLst/>
                <a:latin typeface="Söhne"/>
              </a:rPr>
              <a:t>event details, assets, and on-site wrap information. It includes a cloud/web-based tool accessible from anywhere for real-time updates and version control, eliminating the need for multiple spreadsheets. </a:t>
            </a:r>
            <a:endParaRPr lang="en-GB" sz="1000" i="1"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556F7E-7CB3-F061-047F-4865923A0FAE}"/>
              </a:ext>
            </a:extLst>
          </p:cNvPr>
          <p:cNvSpPr txBox="1"/>
          <p:nvPr/>
        </p:nvSpPr>
        <p:spPr>
          <a:xfrm>
            <a:off x="360777" y="787985"/>
            <a:ext cx="85646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 b="0" i="0">
                <a:solidFill>
                  <a:srgbClr val="202124"/>
                </a:solidFill>
                <a:effectLst/>
                <a:latin typeface="+mj-lt"/>
              </a:rPr>
              <a:t>Unified data </a:t>
            </a:r>
            <a:r>
              <a:rPr lang="en-GB" sz="1100" b="0" i="0">
                <a:solidFill>
                  <a:srgbClr val="040C28"/>
                </a:solidFill>
                <a:effectLst/>
                <a:latin typeface="+mj-lt"/>
              </a:rPr>
              <a:t>aggregates data from disparate sources into a single view providing complete and accurate answers to critical questions</a:t>
            </a:r>
            <a:r>
              <a:rPr lang="en-GB" sz="1100">
                <a:solidFill>
                  <a:srgbClr val="040C28"/>
                </a:solidFill>
                <a:latin typeface="+mj-lt"/>
              </a:rPr>
              <a:t>.</a:t>
            </a:r>
            <a:endParaRPr lang="en-GB" sz="1100"/>
          </a:p>
        </p:txBody>
      </p:sp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97C3C2CA-D859-E34A-27DA-D02D6A34231F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81965" y="4848507"/>
            <a:ext cx="1033652" cy="850134"/>
          </a:xfrm>
          <a:prstGeom prst="rect">
            <a:avLst/>
          </a:prstGeom>
        </p:spPr>
      </p:pic>
      <p:sp>
        <p:nvSpPr>
          <p:cNvPr id="5" name="TextBox 2">
            <a:extLst>
              <a:ext uri="{FF2B5EF4-FFF2-40B4-BE49-F238E27FC236}">
                <a16:creationId xmlns:a16="http://schemas.microsoft.com/office/drawing/2014/main" id="{452E8557-B775-FC3A-6981-1C18280DBC28}"/>
              </a:ext>
            </a:extLst>
          </p:cNvPr>
          <p:cNvSpPr txBox="1"/>
          <p:nvPr/>
        </p:nvSpPr>
        <p:spPr>
          <a:xfrm>
            <a:off x="2757607" y="5758627"/>
            <a:ext cx="1878432" cy="55399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 b="1" i="1">
                <a:latin typeface="Momo Neue"/>
                <a:ea typeface="Yu Mincho"/>
                <a:cs typeface="Arial"/>
              </a:rPr>
              <a:t>Other systems:</a:t>
            </a:r>
            <a:r>
              <a:rPr lang="en-GB" sz="1000" i="1">
                <a:latin typeface="Momo Neue"/>
                <a:ea typeface="Yu Mincho"/>
                <a:cs typeface="Arial"/>
              </a:rPr>
              <a:t> Walmart Hub, Splash, Placer data, Client owned system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B917884-5E43-60D9-EF23-A09763E844FE}"/>
              </a:ext>
            </a:extLst>
          </p:cNvPr>
          <p:cNvCxnSpPr>
            <a:cxnSpLocks/>
          </p:cNvCxnSpPr>
          <p:nvPr/>
        </p:nvCxnSpPr>
        <p:spPr>
          <a:xfrm>
            <a:off x="3657650" y="3854800"/>
            <a:ext cx="572" cy="745743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5675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omentum Template Palette">
      <a:dk1>
        <a:srgbClr val="000000"/>
      </a:dk1>
      <a:lt1>
        <a:srgbClr val="FFFFFF"/>
      </a:lt1>
      <a:dk2>
        <a:srgbClr val="D4D8DC"/>
      </a:dk2>
      <a:lt2>
        <a:srgbClr val="79858D"/>
      </a:lt2>
      <a:accent1>
        <a:srgbClr val="EB2A38"/>
      </a:accent1>
      <a:accent2>
        <a:srgbClr val="495682"/>
      </a:accent2>
      <a:accent3>
        <a:srgbClr val="39708C"/>
      </a:accent3>
      <a:accent4>
        <a:srgbClr val="416042"/>
      </a:accent4>
      <a:accent5>
        <a:srgbClr val="FFD209"/>
      </a:accent5>
      <a:accent6>
        <a:srgbClr val="F26319"/>
      </a:accent6>
      <a:hlink>
        <a:srgbClr val="EB2A38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C01503E242B4242B818938EF38676E9" ma:contentTypeVersion="21" ma:contentTypeDescription="Create a new document." ma:contentTypeScope="" ma:versionID="3a4297306f45b7232432285f2e4fc0a3">
  <xsd:schema xmlns:xsd="http://www.w3.org/2001/XMLSchema" xmlns:xs="http://www.w3.org/2001/XMLSchema" xmlns:p="http://schemas.microsoft.com/office/2006/metadata/properties" xmlns:ns2="801b4607-f500-4f6e-b784-fb54d22359e9" xmlns:ns3="05212364-6e0c-40a5-9fff-da248140089a" targetNamespace="http://schemas.microsoft.com/office/2006/metadata/properties" ma:root="true" ma:fieldsID="85f62882915f962eb2adfc659e2f43e6" ns2:_="" ns3:_="">
    <xsd:import namespace="801b4607-f500-4f6e-b784-fb54d22359e9"/>
    <xsd:import namespace="05212364-6e0c-40a5-9fff-da24814008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Notes" minOccurs="0"/>
                <xsd:element ref="ns2:MediaServiceSearchProperties" minOccurs="0"/>
                <xsd:element ref="ns2:AzureFiles" minOccurs="0"/>
                <xsd:element ref="ns2:MediaServiceBillingMetadata" minOccurs="0"/>
                <xsd:element ref="ns2:Tag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1b4607-f500-4f6e-b784-fb54d22359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3a7d435f-bc0a-452e-b7b2-4cb57826a06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Notes" ma:index="24" nillable="true" ma:displayName="Notes" ma:format="Dropdown" ma:internalName="Notes">
      <xsd:simpleType>
        <xsd:restriction base="dms:Note">
          <xsd:maxLength value="255"/>
        </xsd:restriction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zureFiles" ma:index="26" nillable="true" ma:displayName="Azure Files" ma:format="Hyperlink" ma:internalName="AzureFiles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  <xsd:element name="Tag" ma:index="28" nillable="true" ma:displayName="Tag" ma:description="Tag to flag the recipient user against" ma:format="Dropdown" ma:internalName="Tag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212364-6e0c-40a5-9fff-da248140089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3010033-8c98-4658-a188-4535091bf398}" ma:internalName="TaxCatchAll" ma:showField="CatchAllData" ma:web="05212364-6e0c-40a5-9fff-da248140089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801b4607-f500-4f6e-b784-fb54d22359e9" xsi:nil="true"/>
    <SharedWithUsers xmlns="05212364-6e0c-40a5-9fff-da248140089a">
      <UserInfo>
        <DisplayName>Bustos, Luis (WW-MOM)</DisplayName>
        <AccountId>353</AccountId>
        <AccountType/>
      </UserInfo>
      <UserInfo>
        <DisplayName>Sanderson, Steve (WW-MOM)</DisplayName>
        <AccountId>9</AccountId>
        <AccountType/>
      </UserInfo>
    </SharedWithUsers>
    <lcf76f155ced4ddcb4097134ff3c332f xmlns="801b4607-f500-4f6e-b784-fb54d22359e9">
      <Terms xmlns="http://schemas.microsoft.com/office/infopath/2007/PartnerControls"/>
    </lcf76f155ced4ddcb4097134ff3c332f>
    <TaxCatchAll xmlns="05212364-6e0c-40a5-9fff-da248140089a" xsi:nil="true"/>
    <Notes xmlns="801b4607-f500-4f6e-b784-fb54d22359e9" xsi:nil="true"/>
    <AzureFiles xmlns="801b4607-f500-4f6e-b784-fb54d22359e9">
      <Url xsi:nil="true"/>
      <Description xsi:nil="true"/>
    </AzureFiles>
    <Tag xmlns="801b4607-f500-4f6e-b784-fb54d22359e9" xsi:nil="true"/>
  </documentManagement>
</p:properties>
</file>

<file path=customXml/itemProps1.xml><?xml version="1.0" encoding="utf-8"?>
<ds:datastoreItem xmlns:ds="http://schemas.openxmlformats.org/officeDocument/2006/customXml" ds:itemID="{40DDA28B-E17A-42B6-BE0D-324919581BFC}"/>
</file>

<file path=customXml/itemProps2.xml><?xml version="1.0" encoding="utf-8"?>
<ds:datastoreItem xmlns:ds="http://schemas.openxmlformats.org/officeDocument/2006/customXml" ds:itemID="{256CEFD0-9A11-4FE8-849D-B62262471A8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BC22032-A766-4375-AD2F-946DDCA0C7BB}">
  <ds:schemaRefs>
    <ds:schemaRef ds:uri="05212364-6e0c-40a5-9fff-da248140089a"/>
    <ds:schemaRef ds:uri="801b4607-f500-4f6e-b784-fb54d22359e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26e4c1-5892-497a-b9da-ee493c9f0364}" enabled="0" method="" siteId="{d026e4c1-5892-497a-b9da-ee493c9f036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</TotalTime>
  <Words>1219</Words>
  <Application>Microsoft Office PowerPoint</Application>
  <PresentationFormat>Widescreen</PresentationFormat>
  <Paragraphs>247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Arial</vt:lpstr>
      <vt:lpstr>Arial Black</vt:lpstr>
      <vt:lpstr>Calibri</vt:lpstr>
      <vt:lpstr>Momo Neue</vt:lpstr>
      <vt:lpstr>Open Sans</vt:lpstr>
      <vt:lpstr>Poppins</vt:lpstr>
      <vt:lpstr>Poppins Black</vt:lpstr>
      <vt:lpstr>Söhne</vt:lpstr>
      <vt:lpstr>Verizon NHG DS</vt:lpstr>
      <vt:lpstr>Verizon NHG TX</vt:lpstr>
      <vt:lpstr>Office Theme</vt:lpstr>
      <vt:lpstr>think-cell Slide</vt:lpstr>
      <vt:lpstr>UNIFIED EXPERIENCE PLATFORM (UXP)</vt:lpstr>
      <vt:lpstr>OUR GOALS / WHY UXP? </vt:lpstr>
      <vt:lpstr>OUR GOALS / WHY UXP? </vt:lpstr>
      <vt:lpstr>USER PERSONA</vt:lpstr>
      <vt:lpstr>BENEFITS</vt:lpstr>
      <vt:lpstr>TECHNOLOGY APPROACH</vt:lpstr>
      <vt:lpstr>UNIFIED SYSTEMS VISION </vt:lpstr>
      <vt:lpstr>TODAY</vt:lpstr>
      <vt:lpstr>UNIFIED EXPERIENCE DATA ECOSYSTEM </vt:lpstr>
      <vt:lpstr>UXP COMPONENTS AND FLOW</vt:lpstr>
      <vt:lpstr>UXP COMPONENTS AND FLOW</vt:lpstr>
      <vt:lpstr>KEY FEATURES</vt:lpstr>
      <vt:lpstr>POWER PLATFORM  PROOF OF CONCEPT</vt:lpstr>
      <vt:lpstr>CAMPAIGNS &amp; EVENTS</vt:lpstr>
      <vt:lpstr>CAMPAIGNS &amp; EV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FIED EXPERIENCE TRACKER (UET)</dc:title>
  <dc:creator/>
  <cp:lastModifiedBy>Bustos, Luis (WW-MOM)</cp:lastModifiedBy>
  <cp:revision>2</cp:revision>
  <dcterms:created xsi:type="dcterms:W3CDTF">2023-08-22T01:36:31Z</dcterms:created>
  <dcterms:modified xsi:type="dcterms:W3CDTF">2024-09-26T10:1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4C01503E242B4242B818938EF38676E9</vt:lpwstr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